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2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9" r:id="rId5"/>
    <p:sldMasterId id="2147483774" r:id="rId6"/>
  </p:sldMasterIdLst>
  <p:notesMasterIdLst>
    <p:notesMasterId r:id="rId31"/>
  </p:notesMasterIdLst>
  <p:handoutMasterIdLst>
    <p:handoutMasterId r:id="rId32"/>
  </p:handoutMasterIdLst>
  <p:sldIdLst>
    <p:sldId id="2147470097" r:id="rId7"/>
    <p:sldId id="5096" r:id="rId8"/>
    <p:sldId id="367" r:id="rId9"/>
    <p:sldId id="365" r:id="rId10"/>
    <p:sldId id="2147470138" r:id="rId11"/>
    <p:sldId id="10781" r:id="rId12"/>
    <p:sldId id="2147470130" r:id="rId13"/>
    <p:sldId id="2147470131" r:id="rId14"/>
    <p:sldId id="2147470106" r:id="rId15"/>
    <p:sldId id="2147470137" r:id="rId16"/>
    <p:sldId id="2147470105" r:id="rId17"/>
    <p:sldId id="2147470133" r:id="rId18"/>
    <p:sldId id="2147470141" r:id="rId19"/>
    <p:sldId id="2147470142" r:id="rId20"/>
    <p:sldId id="3358" r:id="rId21"/>
    <p:sldId id="2147470151" r:id="rId22"/>
    <p:sldId id="2147470145" r:id="rId23"/>
    <p:sldId id="2147470146" r:id="rId24"/>
    <p:sldId id="2147470147" r:id="rId25"/>
    <p:sldId id="2147470148" r:id="rId26"/>
    <p:sldId id="2147470149" r:id="rId27"/>
    <p:sldId id="2147470098" r:id="rId28"/>
    <p:sldId id="2147470144" r:id="rId29"/>
    <p:sldId id="2147470143" r:id="rId30"/>
  </p:sldIdLst>
  <p:sldSz cx="12192000" cy="6858000"/>
  <p:notesSz cx="6858000" cy="9144000"/>
  <p:defaultTextStyle>
    <a:defPPr marL="0" marR="0" indent="0" algn="l" defTabSz="457189"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1pPr>
    <a:lvl2pPr marL="0" marR="0" indent="11429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2pPr>
    <a:lvl3pPr marL="0" marR="0" indent="228594"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3pPr>
    <a:lvl4pPr marL="0" marR="0" indent="342891"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4pPr>
    <a:lvl5pPr marL="0" marR="0" indent="457189"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5pPr>
    <a:lvl6pPr marL="0" marR="0" indent="571486"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6pPr>
    <a:lvl7pPr marL="0" marR="0" indent="685783"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7pPr>
    <a:lvl8pPr marL="0" marR="0" indent="800080"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8pPr>
    <a:lvl9pPr marL="0" marR="0" indent="914377" algn="ctr" defTabSz="412740" rtl="0" fontAlgn="auto" latinLnBrk="0" hangingPunct="0">
      <a:lnSpc>
        <a:spcPct val="100000"/>
      </a:lnSpc>
      <a:spcBef>
        <a:spcPts val="0"/>
      </a:spcBef>
      <a:spcAft>
        <a:spcPts val="0"/>
      </a:spcAft>
      <a:buClrTx/>
      <a:buSzTx/>
      <a:buFontTx/>
      <a:buNone/>
      <a:tabLst/>
      <a:defRPr kumimoji="0" sz="2500" b="0" i="0" u="none" strike="noStrike" cap="none" spc="0" normalizeH="0" baseline="0">
        <a:ln>
          <a:noFill/>
        </a:ln>
        <a:solidFill>
          <a:srgbClr val="000000"/>
        </a:solidFill>
        <a:effectLst/>
        <a:uFillTx/>
        <a:latin typeface="+mn-lt"/>
        <a:ea typeface="+mn-ea"/>
        <a:cs typeface="+mn-cs"/>
        <a:sym typeface="Helvetica Light"/>
      </a:defRPr>
    </a:lvl9pPr>
  </p:defaultTextStyle>
  <p:extLst>
    <p:ext uri="{521415D9-36F7-43E2-AB2F-B90AF26B5E84}">
      <p14:sectionLst xmlns:p14="http://schemas.microsoft.com/office/powerpoint/2010/main">
        <p14:section name="cover" id="{12BAD04B-A39E-1045-8914-EDA5E27F92DD}">
          <p14:sldIdLst>
            <p14:sldId id="2147470097"/>
            <p14:sldId id="5096"/>
            <p14:sldId id="367"/>
            <p14:sldId id="365"/>
            <p14:sldId id="2147470138"/>
            <p14:sldId id="10781"/>
            <p14:sldId id="2147470130"/>
            <p14:sldId id="2147470131"/>
            <p14:sldId id="2147470106"/>
            <p14:sldId id="2147470137"/>
            <p14:sldId id="2147470105"/>
            <p14:sldId id="2147470133"/>
            <p14:sldId id="2147470141"/>
            <p14:sldId id="2147470142"/>
            <p14:sldId id="3358"/>
            <p14:sldId id="2147470151"/>
            <p14:sldId id="2147470145"/>
            <p14:sldId id="2147470146"/>
            <p14:sldId id="2147470147"/>
            <p14:sldId id="2147470148"/>
            <p14:sldId id="2147470149"/>
            <p14:sldId id="2147470098"/>
            <p14:sldId id="2147470144"/>
            <p14:sldId id="2147470143"/>
          </p14:sldIdLst>
        </p14:section>
      </p14:sectionLst>
    </p:ext>
    <p:ext uri="{EFAFB233-063F-42B5-8137-9DF3F51BA10A}">
      <p15:sldGuideLst xmlns:p15="http://schemas.microsoft.com/office/powerpoint/2012/main">
        <p15:guide id="1" orient="horz" pos="205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666666"/>
    <a:srgbClr val="FB6308"/>
    <a:srgbClr val="FEFFFE"/>
    <a:srgbClr val="7A0D7A"/>
    <a:srgbClr val="14570B"/>
    <a:srgbClr val="33669A"/>
    <a:srgbClr val="2A6EBB"/>
    <a:srgbClr val="213674"/>
    <a:srgbClr val="808080"/>
    <a:srgbClr val="540D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44528D-A8F9-4657-BEDD-69DBD6A2190B}" v="420" dt="2023-02-17T17:34:40.005"/>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6" d="100"/>
          <a:sy n="86" d="100"/>
        </p:scale>
        <p:origin x="374" y="43"/>
      </p:cViewPr>
      <p:guideLst>
        <p:guide orient="horz" pos="2059"/>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tana Srey" userId="13bee0a8-d205-440d-95f7-48959fdcf002" providerId="ADAL" clId="{0D44528D-A8F9-4657-BEDD-69DBD6A2190B}"/>
    <pc:docChg chg="undo custSel addSld delSld modSld sldOrd delSection modSection">
      <pc:chgData name="Votana Srey" userId="13bee0a8-d205-440d-95f7-48959fdcf002" providerId="ADAL" clId="{0D44528D-A8F9-4657-BEDD-69DBD6A2190B}" dt="2023-02-17T17:35:07.865" v="4176" actId="14100"/>
      <pc:docMkLst>
        <pc:docMk/>
      </pc:docMkLst>
      <pc:sldChg chg="add del">
        <pc:chgData name="Votana Srey" userId="13bee0a8-d205-440d-95f7-48959fdcf002" providerId="ADAL" clId="{0D44528D-A8F9-4657-BEDD-69DBD6A2190B}" dt="2023-02-09T04:38:37.446" v="2647" actId="47"/>
        <pc:sldMkLst>
          <pc:docMk/>
          <pc:sldMk cId="3521603740" sldId="259"/>
        </pc:sldMkLst>
      </pc:sldChg>
      <pc:sldChg chg="delSp modSp add del mod">
        <pc:chgData name="Votana Srey" userId="13bee0a8-d205-440d-95f7-48959fdcf002" providerId="ADAL" clId="{0D44528D-A8F9-4657-BEDD-69DBD6A2190B}" dt="2023-02-02T17:37:09.074" v="1134" actId="47"/>
        <pc:sldMkLst>
          <pc:docMk/>
          <pc:sldMk cId="831049540" sldId="270"/>
        </pc:sldMkLst>
        <pc:spChg chg="del mod">
          <ac:chgData name="Votana Srey" userId="13bee0a8-d205-440d-95f7-48959fdcf002" providerId="ADAL" clId="{0D44528D-A8F9-4657-BEDD-69DBD6A2190B}" dt="2023-02-02T17:15:30.307" v="881" actId="478"/>
          <ac:spMkLst>
            <pc:docMk/>
            <pc:sldMk cId="831049540" sldId="270"/>
            <ac:spMk id="2" creationId="{00000000-0000-0000-0000-000000000000}"/>
          </ac:spMkLst>
        </pc:spChg>
        <pc:spChg chg="mod">
          <ac:chgData name="Votana Srey" userId="13bee0a8-d205-440d-95f7-48959fdcf002" providerId="ADAL" clId="{0D44528D-A8F9-4657-BEDD-69DBD6A2190B}" dt="2023-02-02T17:26:46.924" v="1095" actId="20577"/>
          <ac:spMkLst>
            <pc:docMk/>
            <pc:sldMk cId="831049540" sldId="270"/>
            <ac:spMk id="3" creationId="{51E810BD-DD6A-4EED-BE93-25BA9414C048}"/>
          </ac:spMkLst>
        </pc:spChg>
        <pc:spChg chg="del mod">
          <ac:chgData name="Votana Srey" userId="13bee0a8-d205-440d-95f7-48959fdcf002" providerId="ADAL" clId="{0D44528D-A8F9-4657-BEDD-69DBD6A2190B}" dt="2023-02-02T16:50:16.244" v="691"/>
          <ac:spMkLst>
            <pc:docMk/>
            <pc:sldMk cId="831049540" sldId="270"/>
            <ac:spMk id="4" creationId="{304E3AE1-3A93-43BC-ADF2-95520CEFD510}"/>
          </ac:spMkLst>
        </pc:spChg>
        <pc:spChg chg="del">
          <ac:chgData name="Votana Srey" userId="13bee0a8-d205-440d-95f7-48959fdcf002" providerId="ADAL" clId="{0D44528D-A8F9-4657-BEDD-69DBD6A2190B}" dt="2023-02-02T16:50:37.635" v="696" actId="478"/>
          <ac:spMkLst>
            <pc:docMk/>
            <pc:sldMk cId="831049540" sldId="270"/>
            <ac:spMk id="124" creationId="{00000000-0000-0000-0000-000000000000}"/>
          </ac:spMkLst>
        </pc:spChg>
        <pc:grpChg chg="del">
          <ac:chgData name="Votana Srey" userId="13bee0a8-d205-440d-95f7-48959fdcf002" providerId="ADAL" clId="{0D44528D-A8F9-4657-BEDD-69DBD6A2190B}" dt="2023-02-02T16:50:25.979" v="693" actId="478"/>
          <ac:grpSpMkLst>
            <pc:docMk/>
            <pc:sldMk cId="831049540" sldId="270"/>
            <ac:grpSpMk id="5" creationId="{00000000-0000-0000-0000-000000000000}"/>
          </ac:grpSpMkLst>
        </pc:grpChg>
      </pc:sldChg>
      <pc:sldChg chg="del">
        <pc:chgData name="Votana Srey" userId="13bee0a8-d205-440d-95f7-48959fdcf002" providerId="ADAL" clId="{0D44528D-A8F9-4657-BEDD-69DBD6A2190B}" dt="2023-02-02T18:07:45.394" v="2015" actId="47"/>
        <pc:sldMkLst>
          <pc:docMk/>
          <pc:sldMk cId="243773554" sldId="332"/>
        </pc:sldMkLst>
      </pc:sldChg>
      <pc:sldChg chg="del">
        <pc:chgData name="Votana Srey" userId="13bee0a8-d205-440d-95f7-48959fdcf002" providerId="ADAL" clId="{0D44528D-A8F9-4657-BEDD-69DBD6A2190B}" dt="2023-02-02T18:07:42.627" v="2008" actId="47"/>
        <pc:sldMkLst>
          <pc:docMk/>
          <pc:sldMk cId="1910150847" sldId="338"/>
        </pc:sldMkLst>
      </pc:sldChg>
      <pc:sldChg chg="add del">
        <pc:chgData name="Votana Srey" userId="13bee0a8-d205-440d-95f7-48959fdcf002" providerId="ADAL" clId="{0D44528D-A8F9-4657-BEDD-69DBD6A2190B}" dt="2023-02-02T18:07:40.376" v="2005" actId="47"/>
        <pc:sldMkLst>
          <pc:docMk/>
          <pc:sldMk cId="950698566" sldId="339"/>
        </pc:sldMkLst>
      </pc:sldChg>
      <pc:sldChg chg="del">
        <pc:chgData name="Votana Srey" userId="13bee0a8-d205-440d-95f7-48959fdcf002" providerId="ADAL" clId="{0D44528D-A8F9-4657-BEDD-69DBD6A2190B}" dt="2023-02-02T18:07:34.114" v="2002" actId="47"/>
        <pc:sldMkLst>
          <pc:docMk/>
          <pc:sldMk cId="1094937022" sldId="342"/>
        </pc:sldMkLst>
      </pc:sldChg>
      <pc:sldChg chg="del">
        <pc:chgData name="Votana Srey" userId="13bee0a8-d205-440d-95f7-48959fdcf002" providerId="ADAL" clId="{0D44528D-A8F9-4657-BEDD-69DBD6A2190B}" dt="2023-02-02T18:07:44.139" v="2011" actId="47"/>
        <pc:sldMkLst>
          <pc:docMk/>
          <pc:sldMk cId="1481466802" sldId="346"/>
        </pc:sldMkLst>
      </pc:sldChg>
      <pc:sldChg chg="del">
        <pc:chgData name="Votana Srey" userId="13bee0a8-d205-440d-95f7-48959fdcf002" providerId="ADAL" clId="{0D44528D-A8F9-4657-BEDD-69DBD6A2190B}" dt="2023-02-02T18:07:43.723" v="2010" actId="47"/>
        <pc:sldMkLst>
          <pc:docMk/>
          <pc:sldMk cId="1069711565" sldId="347"/>
        </pc:sldMkLst>
      </pc:sldChg>
      <pc:sldChg chg="del">
        <pc:chgData name="Votana Srey" userId="13bee0a8-d205-440d-95f7-48959fdcf002" providerId="ADAL" clId="{0D44528D-A8F9-4657-BEDD-69DBD6A2190B}" dt="2023-02-02T18:07:43.268" v="2009" actId="47"/>
        <pc:sldMkLst>
          <pc:docMk/>
          <pc:sldMk cId="1709756990" sldId="349"/>
        </pc:sldMkLst>
      </pc:sldChg>
      <pc:sldChg chg="del">
        <pc:chgData name="Votana Srey" userId="13bee0a8-d205-440d-95f7-48959fdcf002" providerId="ADAL" clId="{0D44528D-A8F9-4657-BEDD-69DBD6A2190B}" dt="2023-02-02T18:07:45.094" v="2014" actId="47"/>
        <pc:sldMkLst>
          <pc:docMk/>
          <pc:sldMk cId="235027308" sldId="358"/>
        </pc:sldMkLst>
      </pc:sldChg>
      <pc:sldChg chg="del">
        <pc:chgData name="Votana Srey" userId="13bee0a8-d205-440d-95f7-48959fdcf002" providerId="ADAL" clId="{0D44528D-A8F9-4657-BEDD-69DBD6A2190B}" dt="2023-02-02T18:07:44.526" v="2012" actId="47"/>
        <pc:sldMkLst>
          <pc:docMk/>
          <pc:sldMk cId="1195304006" sldId="360"/>
        </pc:sldMkLst>
      </pc:sldChg>
      <pc:sldChg chg="del">
        <pc:chgData name="Votana Srey" userId="13bee0a8-d205-440d-95f7-48959fdcf002" providerId="ADAL" clId="{0D44528D-A8F9-4657-BEDD-69DBD6A2190B}" dt="2023-02-02T18:07:44.891" v="2013" actId="47"/>
        <pc:sldMkLst>
          <pc:docMk/>
          <pc:sldMk cId="1389402221" sldId="362"/>
        </pc:sldMkLst>
      </pc:sldChg>
      <pc:sldChg chg="addSp delSp modSp mod modClrScheme chgLayout">
        <pc:chgData name="Votana Srey" userId="13bee0a8-d205-440d-95f7-48959fdcf002" providerId="ADAL" clId="{0D44528D-A8F9-4657-BEDD-69DBD6A2190B}" dt="2023-02-02T17:36:17.667" v="1128" actId="11529"/>
        <pc:sldMkLst>
          <pc:docMk/>
          <pc:sldMk cId="2115834336" sldId="365"/>
        </pc:sldMkLst>
        <pc:spChg chg="del mod ord">
          <ac:chgData name="Votana Srey" userId="13bee0a8-d205-440d-95f7-48959fdcf002" providerId="ADAL" clId="{0D44528D-A8F9-4657-BEDD-69DBD6A2190B}" dt="2023-02-02T16:51:51.984" v="721" actId="478"/>
          <ac:spMkLst>
            <pc:docMk/>
            <pc:sldMk cId="2115834336" sldId="365"/>
            <ac:spMk id="4" creationId="{4AF8DB76-A1BB-53E6-60F7-6C2E10718A84}"/>
          </ac:spMkLst>
        </pc:spChg>
        <pc:spChg chg="del mod ord">
          <ac:chgData name="Votana Srey" userId="13bee0a8-d205-440d-95f7-48959fdcf002" providerId="ADAL" clId="{0D44528D-A8F9-4657-BEDD-69DBD6A2190B}" dt="2023-02-02T16:51:48.659" v="720" actId="478"/>
          <ac:spMkLst>
            <pc:docMk/>
            <pc:sldMk cId="2115834336" sldId="365"/>
            <ac:spMk id="5" creationId="{E2A9A272-C378-770B-D57A-D67FA2F82F87}"/>
          </ac:spMkLst>
        </pc:spChg>
        <pc:spChg chg="add">
          <ac:chgData name="Votana Srey" userId="13bee0a8-d205-440d-95f7-48959fdcf002" providerId="ADAL" clId="{0D44528D-A8F9-4657-BEDD-69DBD6A2190B}" dt="2023-02-02T17:36:17.667" v="1128" actId="11529"/>
          <ac:spMkLst>
            <pc:docMk/>
            <pc:sldMk cId="2115834336" sldId="365"/>
            <ac:spMk id="9" creationId="{1E1C5D32-994B-DDFB-A485-F46AF9D16241}"/>
          </ac:spMkLst>
        </pc:spChg>
        <pc:picChg chg="add mod">
          <ac:chgData name="Votana Srey" userId="13bee0a8-d205-440d-95f7-48959fdcf002" providerId="ADAL" clId="{0D44528D-A8F9-4657-BEDD-69DBD6A2190B}" dt="2023-02-02T16:51:57.449" v="722"/>
          <ac:picMkLst>
            <pc:docMk/>
            <pc:sldMk cId="2115834336" sldId="365"/>
            <ac:picMk id="2" creationId="{4736E829-714B-298F-7CF3-82415E043E68}"/>
          </ac:picMkLst>
        </pc:picChg>
        <pc:picChg chg="add del mod">
          <ac:chgData name="Votana Srey" userId="13bee0a8-d205-440d-95f7-48959fdcf002" providerId="ADAL" clId="{0D44528D-A8F9-4657-BEDD-69DBD6A2190B}" dt="2023-02-02T17:33:48.330" v="1125" actId="478"/>
          <ac:picMkLst>
            <pc:docMk/>
            <pc:sldMk cId="2115834336" sldId="365"/>
            <ac:picMk id="6" creationId="{C597E6E2-8880-54B7-127B-AF68C6D3E00E}"/>
          </ac:picMkLst>
        </pc:picChg>
        <pc:picChg chg="add mod">
          <ac:chgData name="Votana Srey" userId="13bee0a8-d205-440d-95f7-48959fdcf002" providerId="ADAL" clId="{0D44528D-A8F9-4657-BEDD-69DBD6A2190B}" dt="2023-02-02T17:36:03.182" v="1127" actId="1076"/>
          <ac:picMkLst>
            <pc:docMk/>
            <pc:sldMk cId="2115834336" sldId="365"/>
            <ac:picMk id="8" creationId="{8B124F51-E14E-DC8D-8100-E1E9FA48C86B}"/>
          </ac:picMkLst>
        </pc:picChg>
        <pc:picChg chg="add del mod">
          <ac:chgData name="Votana Srey" userId="13bee0a8-d205-440d-95f7-48959fdcf002" providerId="ADAL" clId="{0D44528D-A8F9-4657-BEDD-69DBD6A2190B}" dt="2023-02-02T17:33:48.330" v="1125" actId="478"/>
          <ac:picMkLst>
            <pc:docMk/>
            <pc:sldMk cId="2115834336" sldId="365"/>
            <ac:picMk id="1026" creationId="{E88739CE-365D-AF12-AF32-DB1A48B0F08E}"/>
          </ac:picMkLst>
        </pc:picChg>
        <pc:picChg chg="add del mod">
          <ac:chgData name="Votana Srey" userId="13bee0a8-d205-440d-95f7-48959fdcf002" providerId="ADAL" clId="{0D44528D-A8F9-4657-BEDD-69DBD6A2190B}" dt="2023-02-02T17:33:48.330" v="1125" actId="478"/>
          <ac:picMkLst>
            <pc:docMk/>
            <pc:sldMk cId="2115834336" sldId="365"/>
            <ac:picMk id="1028" creationId="{12B7007C-9A10-3476-BF07-155CFD18DA6C}"/>
          </ac:picMkLst>
        </pc:picChg>
      </pc:sldChg>
      <pc:sldChg chg="del">
        <pc:chgData name="Votana Srey" userId="13bee0a8-d205-440d-95f7-48959fdcf002" providerId="ADAL" clId="{0D44528D-A8F9-4657-BEDD-69DBD6A2190B}" dt="2023-02-02T18:07:55.048" v="2034" actId="47"/>
        <pc:sldMkLst>
          <pc:docMk/>
          <pc:sldMk cId="457683382" sldId="366"/>
        </pc:sldMkLst>
      </pc:sldChg>
      <pc:sldChg chg="addSp modSp mod ord">
        <pc:chgData name="Votana Srey" userId="13bee0a8-d205-440d-95f7-48959fdcf002" providerId="ADAL" clId="{0D44528D-A8F9-4657-BEDD-69DBD6A2190B}" dt="2023-02-02T16:46:05.806" v="687" actId="1076"/>
        <pc:sldMkLst>
          <pc:docMk/>
          <pc:sldMk cId="2238106741" sldId="367"/>
        </pc:sldMkLst>
        <pc:spChg chg="mod">
          <ac:chgData name="Votana Srey" userId="13bee0a8-d205-440d-95f7-48959fdcf002" providerId="ADAL" clId="{0D44528D-A8F9-4657-BEDD-69DBD6A2190B}" dt="2023-02-02T16:44:46.905" v="586" actId="14100"/>
          <ac:spMkLst>
            <pc:docMk/>
            <pc:sldMk cId="2238106741" sldId="367"/>
            <ac:spMk id="4" creationId="{3E03A014-9F0D-98FC-32FA-190C52A42019}"/>
          </ac:spMkLst>
        </pc:spChg>
        <pc:spChg chg="mod">
          <ac:chgData name="Votana Srey" userId="13bee0a8-d205-440d-95f7-48959fdcf002" providerId="ADAL" clId="{0D44528D-A8F9-4657-BEDD-69DBD6A2190B}" dt="2023-02-02T16:45:30.771" v="685" actId="113"/>
          <ac:spMkLst>
            <pc:docMk/>
            <pc:sldMk cId="2238106741" sldId="367"/>
            <ac:spMk id="5" creationId="{9E431F0F-FF18-17D3-2E26-FE0321670AA8}"/>
          </ac:spMkLst>
        </pc:spChg>
        <pc:picChg chg="add mod">
          <ac:chgData name="Votana Srey" userId="13bee0a8-d205-440d-95f7-48959fdcf002" providerId="ADAL" clId="{0D44528D-A8F9-4657-BEDD-69DBD6A2190B}" dt="2023-02-02T16:46:05.806" v="687" actId="1076"/>
          <ac:picMkLst>
            <pc:docMk/>
            <pc:sldMk cId="2238106741" sldId="367"/>
            <ac:picMk id="2" creationId="{51E93A66-B153-8852-53E4-07A339CD2566}"/>
          </ac:picMkLst>
        </pc:picChg>
      </pc:sldChg>
      <pc:sldChg chg="del">
        <pc:chgData name="Votana Srey" userId="13bee0a8-d205-440d-95f7-48959fdcf002" providerId="ADAL" clId="{0D44528D-A8F9-4657-BEDD-69DBD6A2190B}" dt="2023-02-02T18:07:33.304" v="2001" actId="47"/>
        <pc:sldMkLst>
          <pc:docMk/>
          <pc:sldMk cId="708417623" sldId="369"/>
        </pc:sldMkLst>
      </pc:sldChg>
      <pc:sldChg chg="del">
        <pc:chgData name="Votana Srey" userId="13bee0a8-d205-440d-95f7-48959fdcf002" providerId="ADAL" clId="{0D44528D-A8F9-4657-BEDD-69DBD6A2190B}" dt="2023-02-02T18:07:46.035" v="2016" actId="47"/>
        <pc:sldMkLst>
          <pc:docMk/>
          <pc:sldMk cId="2565627084" sldId="371"/>
        </pc:sldMkLst>
      </pc:sldChg>
      <pc:sldChg chg="del">
        <pc:chgData name="Votana Srey" userId="13bee0a8-d205-440d-95f7-48959fdcf002" providerId="ADAL" clId="{0D44528D-A8F9-4657-BEDD-69DBD6A2190B}" dt="2023-02-02T18:07:46.506" v="2017" actId="47"/>
        <pc:sldMkLst>
          <pc:docMk/>
          <pc:sldMk cId="3877938776" sldId="372"/>
        </pc:sldMkLst>
      </pc:sldChg>
      <pc:sldChg chg="del">
        <pc:chgData name="Votana Srey" userId="13bee0a8-d205-440d-95f7-48959fdcf002" providerId="ADAL" clId="{0D44528D-A8F9-4657-BEDD-69DBD6A2190B}" dt="2023-02-02T18:07:47.283" v="2019" actId="47"/>
        <pc:sldMkLst>
          <pc:docMk/>
          <pc:sldMk cId="1397350690" sldId="373"/>
        </pc:sldMkLst>
      </pc:sldChg>
      <pc:sldChg chg="del">
        <pc:chgData name="Votana Srey" userId="13bee0a8-d205-440d-95f7-48959fdcf002" providerId="ADAL" clId="{0D44528D-A8F9-4657-BEDD-69DBD6A2190B}" dt="2023-02-02T18:07:47.886" v="2021" actId="47"/>
        <pc:sldMkLst>
          <pc:docMk/>
          <pc:sldMk cId="3887803650" sldId="374"/>
        </pc:sldMkLst>
      </pc:sldChg>
      <pc:sldChg chg="addSp delSp modSp add del mod modClrScheme chgLayout">
        <pc:chgData name="Votana Srey" userId="13bee0a8-d205-440d-95f7-48959fdcf002" providerId="ADAL" clId="{0D44528D-A8F9-4657-BEDD-69DBD6A2190B}" dt="2023-02-03T02:13:48.015" v="2595" actId="1038"/>
        <pc:sldMkLst>
          <pc:docMk/>
          <pc:sldMk cId="3805922499" sldId="3358"/>
        </pc:sldMkLst>
        <pc:spChg chg="del mod ord">
          <ac:chgData name="Votana Srey" userId="13bee0a8-d205-440d-95f7-48959fdcf002" providerId="ADAL" clId="{0D44528D-A8F9-4657-BEDD-69DBD6A2190B}" dt="2023-02-02T18:02:48.688" v="1750" actId="478"/>
          <ac:spMkLst>
            <pc:docMk/>
            <pc:sldMk cId="3805922499" sldId="3358"/>
            <ac:spMk id="2" creationId="{BF53ED27-7FE6-4202-B0A0-29E344F89D35}"/>
          </ac:spMkLst>
        </pc:spChg>
        <pc:spChg chg="add mod">
          <ac:chgData name="Votana Srey" userId="13bee0a8-d205-440d-95f7-48959fdcf002" providerId="ADAL" clId="{0D44528D-A8F9-4657-BEDD-69DBD6A2190B}" dt="2023-02-03T02:12:18.789" v="2568" actId="1037"/>
          <ac:spMkLst>
            <pc:docMk/>
            <pc:sldMk cId="3805922499" sldId="3358"/>
            <ac:spMk id="3" creationId="{FA226BB7-DA39-CDB7-C74A-FD4EEEAA2B6C}"/>
          </ac:spMkLst>
        </pc:spChg>
        <pc:spChg chg="del">
          <ac:chgData name="Votana Srey" userId="13bee0a8-d205-440d-95f7-48959fdcf002" providerId="ADAL" clId="{0D44528D-A8F9-4657-BEDD-69DBD6A2190B}" dt="2023-02-02T18:02:32.999" v="1748" actId="700"/>
          <ac:spMkLst>
            <pc:docMk/>
            <pc:sldMk cId="3805922499" sldId="3358"/>
            <ac:spMk id="4" creationId="{5AD5FD1E-61B7-4233-A3E2-09FC10F44A1C}"/>
          </ac:spMkLst>
        </pc:spChg>
        <pc:spChg chg="mod">
          <ac:chgData name="Votana Srey" userId="13bee0a8-d205-440d-95f7-48959fdcf002" providerId="ADAL" clId="{0D44528D-A8F9-4657-BEDD-69DBD6A2190B}" dt="2023-02-02T18:03:47.668" v="1857" actId="207"/>
          <ac:spMkLst>
            <pc:docMk/>
            <pc:sldMk cId="3805922499" sldId="3358"/>
            <ac:spMk id="7" creationId="{632464BB-24B2-4920-A74D-D8618DDA72C5}"/>
          </ac:spMkLst>
        </pc:spChg>
        <pc:spChg chg="mod">
          <ac:chgData name="Votana Srey" userId="13bee0a8-d205-440d-95f7-48959fdcf002" providerId="ADAL" clId="{0D44528D-A8F9-4657-BEDD-69DBD6A2190B}" dt="2023-02-02T18:03:47.668" v="1857" actId="207"/>
          <ac:spMkLst>
            <pc:docMk/>
            <pc:sldMk cId="3805922499" sldId="3358"/>
            <ac:spMk id="8" creationId="{16C86254-61F8-4909-8F94-8AFB9576BD34}"/>
          </ac:spMkLst>
        </pc:spChg>
        <pc:spChg chg="mod">
          <ac:chgData name="Votana Srey" userId="13bee0a8-d205-440d-95f7-48959fdcf002" providerId="ADAL" clId="{0D44528D-A8F9-4657-BEDD-69DBD6A2190B}" dt="2023-02-02T18:03:47.668" v="1857" actId="207"/>
          <ac:spMkLst>
            <pc:docMk/>
            <pc:sldMk cId="3805922499" sldId="3358"/>
            <ac:spMk id="13" creationId="{90A78B1E-02A3-4847-AF5E-9076E811FDC5}"/>
          </ac:spMkLst>
        </pc:spChg>
        <pc:spChg chg="add mod">
          <ac:chgData name="Votana Srey" userId="13bee0a8-d205-440d-95f7-48959fdcf002" providerId="ADAL" clId="{0D44528D-A8F9-4657-BEDD-69DBD6A2190B}" dt="2023-02-03T02:13:48.015" v="2595" actId="1038"/>
          <ac:spMkLst>
            <pc:docMk/>
            <pc:sldMk cId="3805922499" sldId="3358"/>
            <ac:spMk id="18" creationId="{9ECBF4F5-2DD6-D69C-7BE9-EEBAEB1985FE}"/>
          </ac:spMkLst>
        </pc:spChg>
        <pc:spChg chg="add mod">
          <ac:chgData name="Votana Srey" userId="13bee0a8-d205-440d-95f7-48959fdcf002" providerId="ADAL" clId="{0D44528D-A8F9-4657-BEDD-69DBD6A2190B}" dt="2023-02-03T02:13:48.015" v="2595" actId="1038"/>
          <ac:spMkLst>
            <pc:docMk/>
            <pc:sldMk cId="3805922499" sldId="3358"/>
            <ac:spMk id="19" creationId="{648CED10-7171-0D0A-8DFB-9505654866DF}"/>
          </ac:spMkLst>
        </pc:spChg>
        <pc:spChg chg="mod">
          <ac:chgData name="Votana Srey" userId="13bee0a8-d205-440d-95f7-48959fdcf002" providerId="ADAL" clId="{0D44528D-A8F9-4657-BEDD-69DBD6A2190B}" dt="2023-02-02T18:03:47.668" v="1857" actId="207"/>
          <ac:spMkLst>
            <pc:docMk/>
            <pc:sldMk cId="3805922499" sldId="3358"/>
            <ac:spMk id="43" creationId="{711748B7-A61C-48EE-B51D-4FC593219A11}"/>
          </ac:spMkLst>
        </pc:spChg>
        <pc:spChg chg="mod">
          <ac:chgData name="Votana Srey" userId="13bee0a8-d205-440d-95f7-48959fdcf002" providerId="ADAL" clId="{0D44528D-A8F9-4657-BEDD-69DBD6A2190B}" dt="2023-02-02T18:04:05.219" v="1875" actId="1038"/>
          <ac:spMkLst>
            <pc:docMk/>
            <pc:sldMk cId="3805922499" sldId="3358"/>
            <ac:spMk id="82" creationId="{12FD5DEE-A063-45C5-A68A-D2BFDA53DA3B}"/>
          </ac:spMkLst>
        </pc:spChg>
        <pc:spChg chg="mod">
          <ac:chgData name="Votana Srey" userId="13bee0a8-d205-440d-95f7-48959fdcf002" providerId="ADAL" clId="{0D44528D-A8F9-4657-BEDD-69DBD6A2190B}" dt="2023-02-02T18:04:05.219" v="1875" actId="1038"/>
          <ac:spMkLst>
            <pc:docMk/>
            <pc:sldMk cId="3805922499" sldId="3358"/>
            <ac:spMk id="88" creationId="{47144593-0E07-4C3F-8A17-27C6C77E89AC}"/>
          </ac:spMkLst>
        </pc:spChg>
        <pc:spChg chg="mod">
          <ac:chgData name="Votana Srey" userId="13bee0a8-d205-440d-95f7-48959fdcf002" providerId="ADAL" clId="{0D44528D-A8F9-4657-BEDD-69DBD6A2190B}" dt="2023-02-03T02:08:42.059" v="2511" actId="20577"/>
          <ac:spMkLst>
            <pc:docMk/>
            <pc:sldMk cId="3805922499" sldId="3358"/>
            <ac:spMk id="95" creationId="{ACFEFECC-2114-4979-9F52-51A450139568}"/>
          </ac:spMkLst>
        </pc:spChg>
        <pc:spChg chg="mod">
          <ac:chgData name="Votana Srey" userId="13bee0a8-d205-440d-95f7-48959fdcf002" providerId="ADAL" clId="{0D44528D-A8F9-4657-BEDD-69DBD6A2190B}" dt="2023-02-03T02:08:49.663" v="2527" actId="20577"/>
          <ac:spMkLst>
            <pc:docMk/>
            <pc:sldMk cId="3805922499" sldId="3358"/>
            <ac:spMk id="96" creationId="{F3EA08E7-7D10-4176-AE26-DB4884618F15}"/>
          </ac:spMkLst>
        </pc:spChg>
        <pc:spChg chg="mod">
          <ac:chgData name="Votana Srey" userId="13bee0a8-d205-440d-95f7-48959fdcf002" providerId="ADAL" clId="{0D44528D-A8F9-4657-BEDD-69DBD6A2190B}" dt="2023-02-02T18:03:47.668" v="1857" actId="207"/>
          <ac:spMkLst>
            <pc:docMk/>
            <pc:sldMk cId="3805922499" sldId="3358"/>
            <ac:spMk id="97" creationId="{DFD254A7-6AA5-4D7C-B07C-8153F31B8998}"/>
          </ac:spMkLst>
        </pc:spChg>
        <pc:spChg chg="mod">
          <ac:chgData name="Votana Srey" userId="13bee0a8-d205-440d-95f7-48959fdcf002" providerId="ADAL" clId="{0D44528D-A8F9-4657-BEDD-69DBD6A2190B}" dt="2023-02-02T18:04:05.219" v="1875" actId="1038"/>
          <ac:spMkLst>
            <pc:docMk/>
            <pc:sldMk cId="3805922499" sldId="3358"/>
            <ac:spMk id="132" creationId="{536CEB6C-E337-45B7-93D7-820AAF34586C}"/>
          </ac:spMkLst>
        </pc:spChg>
        <pc:spChg chg="mod">
          <ac:chgData name="Votana Srey" userId="13bee0a8-d205-440d-95f7-48959fdcf002" providerId="ADAL" clId="{0D44528D-A8F9-4657-BEDD-69DBD6A2190B}" dt="2023-02-02T18:04:05.219" v="1875" actId="1038"/>
          <ac:spMkLst>
            <pc:docMk/>
            <pc:sldMk cId="3805922499" sldId="3358"/>
            <ac:spMk id="146" creationId="{49A1F8CF-DB77-41BB-866C-CA420E517C78}"/>
          </ac:spMkLst>
        </pc:spChg>
        <pc:spChg chg="mod">
          <ac:chgData name="Votana Srey" userId="13bee0a8-d205-440d-95f7-48959fdcf002" providerId="ADAL" clId="{0D44528D-A8F9-4657-BEDD-69DBD6A2190B}" dt="2023-02-02T18:04:05.219" v="1875" actId="1038"/>
          <ac:spMkLst>
            <pc:docMk/>
            <pc:sldMk cId="3805922499" sldId="3358"/>
            <ac:spMk id="204" creationId="{D369ED5E-078B-404E-9BF6-70B09D07DA6E}"/>
          </ac:spMkLst>
        </pc:spChg>
        <pc:spChg chg="mod">
          <ac:chgData name="Votana Srey" userId="13bee0a8-d205-440d-95f7-48959fdcf002" providerId="ADAL" clId="{0D44528D-A8F9-4657-BEDD-69DBD6A2190B}" dt="2023-02-03T02:11:08.051" v="2547" actId="1076"/>
          <ac:spMkLst>
            <pc:docMk/>
            <pc:sldMk cId="3805922499" sldId="3358"/>
            <ac:spMk id="236" creationId="{8889F9B6-CF92-4E25-8334-89689AC28DC6}"/>
          </ac:spMkLst>
        </pc:spChg>
        <pc:spChg chg="mod">
          <ac:chgData name="Votana Srey" userId="13bee0a8-d205-440d-95f7-48959fdcf002" providerId="ADAL" clId="{0D44528D-A8F9-4657-BEDD-69DBD6A2190B}" dt="2023-02-03T02:11:13.284" v="2548" actId="1076"/>
          <ac:spMkLst>
            <pc:docMk/>
            <pc:sldMk cId="3805922499" sldId="3358"/>
            <ac:spMk id="237" creationId="{72D5FF38-976A-406A-81B1-BBF8507848E7}"/>
          </ac:spMkLst>
        </pc:spChg>
        <pc:spChg chg="mod">
          <ac:chgData name="Votana Srey" userId="13bee0a8-d205-440d-95f7-48959fdcf002" providerId="ADAL" clId="{0D44528D-A8F9-4657-BEDD-69DBD6A2190B}" dt="2023-02-03T02:11:17.661" v="2549" actId="1076"/>
          <ac:spMkLst>
            <pc:docMk/>
            <pc:sldMk cId="3805922499" sldId="3358"/>
            <ac:spMk id="238" creationId="{2687BC96-19F4-48BF-BEFA-E7B589A3C067}"/>
          </ac:spMkLst>
        </pc:spChg>
        <pc:spChg chg="mod">
          <ac:chgData name="Votana Srey" userId="13bee0a8-d205-440d-95f7-48959fdcf002" providerId="ADAL" clId="{0D44528D-A8F9-4657-BEDD-69DBD6A2190B}" dt="2023-02-03T02:11:22.114" v="2550" actId="1076"/>
          <ac:spMkLst>
            <pc:docMk/>
            <pc:sldMk cId="3805922499" sldId="3358"/>
            <ac:spMk id="239" creationId="{59410BE0-DABB-4CF0-BCC7-40D5C2EBA034}"/>
          </ac:spMkLst>
        </pc:spChg>
        <pc:picChg chg="add mod">
          <ac:chgData name="Votana Srey" userId="13bee0a8-d205-440d-95f7-48959fdcf002" providerId="ADAL" clId="{0D44528D-A8F9-4657-BEDD-69DBD6A2190B}" dt="2023-02-02T18:10:33.401" v="2110"/>
          <ac:picMkLst>
            <pc:docMk/>
            <pc:sldMk cId="3805922499" sldId="3358"/>
            <ac:picMk id="6" creationId="{BFEA8E5B-3925-157E-5096-E5A7FB85F600}"/>
          </ac:picMkLst>
        </pc:picChg>
        <pc:picChg chg="add mod">
          <ac:chgData name="Votana Srey" userId="13bee0a8-d205-440d-95f7-48959fdcf002" providerId="ADAL" clId="{0D44528D-A8F9-4657-BEDD-69DBD6A2190B}" dt="2023-02-03T02:13:26.049" v="2584" actId="1076"/>
          <ac:picMkLst>
            <pc:docMk/>
            <pc:sldMk cId="3805922499" sldId="3358"/>
            <ac:picMk id="17" creationId="{5666DCE4-2EFC-8EB4-F166-478C2D970BE2}"/>
          </ac:picMkLst>
        </pc:picChg>
        <pc:cxnChg chg="mod">
          <ac:chgData name="Votana Srey" userId="13bee0a8-d205-440d-95f7-48959fdcf002" providerId="ADAL" clId="{0D44528D-A8F9-4657-BEDD-69DBD6A2190B}" dt="2023-02-03T02:10:28.174" v="2540" actId="14100"/>
          <ac:cxnSpMkLst>
            <pc:docMk/>
            <pc:sldMk cId="3805922499" sldId="3358"/>
            <ac:cxnSpMk id="241" creationId="{1C233873-5E51-4FDE-AE18-0D4B7D6B7700}"/>
          </ac:cxnSpMkLst>
        </pc:cxnChg>
        <pc:cxnChg chg="mod">
          <ac:chgData name="Votana Srey" userId="13bee0a8-d205-440d-95f7-48959fdcf002" providerId="ADAL" clId="{0D44528D-A8F9-4657-BEDD-69DBD6A2190B}" dt="2023-02-03T02:10:46.664" v="2543" actId="14100"/>
          <ac:cxnSpMkLst>
            <pc:docMk/>
            <pc:sldMk cId="3805922499" sldId="3358"/>
            <ac:cxnSpMk id="242" creationId="{6C5328E6-6E94-448D-BDB9-90C174AFEE69}"/>
          </ac:cxnSpMkLst>
        </pc:cxnChg>
        <pc:cxnChg chg="mod">
          <ac:chgData name="Votana Srey" userId="13bee0a8-d205-440d-95f7-48959fdcf002" providerId="ADAL" clId="{0D44528D-A8F9-4657-BEDD-69DBD6A2190B}" dt="2023-02-03T02:10:53.763" v="2544" actId="14100"/>
          <ac:cxnSpMkLst>
            <pc:docMk/>
            <pc:sldMk cId="3805922499" sldId="3358"/>
            <ac:cxnSpMk id="243" creationId="{FBA93B8E-9BE6-49FA-BA33-64C7195DD52C}"/>
          </ac:cxnSpMkLst>
        </pc:cxnChg>
        <pc:cxnChg chg="mod">
          <ac:chgData name="Votana Srey" userId="13bee0a8-d205-440d-95f7-48959fdcf002" providerId="ADAL" clId="{0D44528D-A8F9-4657-BEDD-69DBD6A2190B}" dt="2023-02-03T02:11:03.584" v="2546" actId="14100"/>
          <ac:cxnSpMkLst>
            <pc:docMk/>
            <pc:sldMk cId="3805922499" sldId="3358"/>
            <ac:cxnSpMk id="244" creationId="{3A08D279-EB45-4B0E-AEA8-6D6199A86014}"/>
          </ac:cxnSpMkLst>
        </pc:cxnChg>
      </pc:sldChg>
      <pc:sldChg chg="addSp modSp add mod ord">
        <pc:chgData name="Votana Srey" userId="13bee0a8-d205-440d-95f7-48959fdcf002" providerId="ADAL" clId="{0D44528D-A8F9-4657-BEDD-69DBD6A2190B}" dt="2023-02-02T17:21:55.947" v="1025" actId="20577"/>
        <pc:sldMkLst>
          <pc:docMk/>
          <pc:sldMk cId="1888050346" sldId="5096"/>
        </pc:sldMkLst>
        <pc:spChg chg="add mod">
          <ac:chgData name="Votana Srey" userId="13bee0a8-d205-440d-95f7-48959fdcf002" providerId="ADAL" clId="{0D44528D-A8F9-4657-BEDD-69DBD6A2190B}" dt="2023-02-02T16:44:11.136" v="561" actId="1038"/>
          <ac:spMkLst>
            <pc:docMk/>
            <pc:sldMk cId="1888050346" sldId="5096"/>
            <ac:spMk id="3" creationId="{F426DDA5-F46C-4CFE-526D-152E6692BF69}"/>
          </ac:spMkLst>
        </pc:spChg>
        <pc:spChg chg="mod">
          <ac:chgData name="Votana Srey" userId="13bee0a8-d205-440d-95f7-48959fdcf002" providerId="ADAL" clId="{0D44528D-A8F9-4657-BEDD-69DBD6A2190B}" dt="2023-02-02T16:43:41.482" v="538" actId="20577"/>
          <ac:spMkLst>
            <pc:docMk/>
            <pc:sldMk cId="1888050346" sldId="5096"/>
            <ac:spMk id="24" creationId="{174BFD3C-C91C-447B-8FB7-9247936F241C}"/>
          </ac:spMkLst>
        </pc:spChg>
        <pc:spChg chg="mod">
          <ac:chgData name="Votana Srey" userId="13bee0a8-d205-440d-95f7-48959fdcf002" providerId="ADAL" clId="{0D44528D-A8F9-4657-BEDD-69DBD6A2190B}" dt="2023-02-02T16:43:59.266" v="553" actId="20577"/>
          <ac:spMkLst>
            <pc:docMk/>
            <pc:sldMk cId="1888050346" sldId="5096"/>
            <ac:spMk id="37" creationId="{26B3BF32-C308-41F7-8B6C-99B1ABD0DFA9}"/>
          </ac:spMkLst>
        </pc:spChg>
        <pc:spChg chg="mod">
          <ac:chgData name="Votana Srey" userId="13bee0a8-d205-440d-95f7-48959fdcf002" providerId="ADAL" clId="{0D44528D-A8F9-4657-BEDD-69DBD6A2190B}" dt="2023-02-02T16:43:35.719" v="528" actId="20577"/>
          <ac:spMkLst>
            <pc:docMk/>
            <pc:sldMk cId="1888050346" sldId="5096"/>
            <ac:spMk id="39" creationId="{3A40EE30-DBC2-45B8-B20A-C7B752D6F0DB}"/>
          </ac:spMkLst>
        </pc:spChg>
        <pc:spChg chg="mod">
          <ac:chgData name="Votana Srey" userId="13bee0a8-d205-440d-95f7-48959fdcf002" providerId="ADAL" clId="{0D44528D-A8F9-4657-BEDD-69DBD6A2190B}" dt="2023-02-02T17:21:55.947" v="1025" actId="20577"/>
          <ac:spMkLst>
            <pc:docMk/>
            <pc:sldMk cId="1888050346" sldId="5096"/>
            <ac:spMk id="41" creationId="{0BD4BFF0-7DC6-41D4-A424-5D2861F08E33}"/>
          </ac:spMkLst>
        </pc:spChg>
        <pc:spChg chg="mod">
          <ac:chgData name="Votana Srey" userId="13bee0a8-d205-440d-95f7-48959fdcf002" providerId="ADAL" clId="{0D44528D-A8F9-4657-BEDD-69DBD6A2190B}" dt="2023-02-02T16:43:52.572" v="549" actId="20577"/>
          <ac:spMkLst>
            <pc:docMk/>
            <pc:sldMk cId="1888050346" sldId="5096"/>
            <ac:spMk id="47" creationId="{B818B4FA-BC3B-4BEF-BE7B-79D0A83A2964}"/>
          </ac:spMkLst>
        </pc:spChg>
      </pc:sldChg>
      <pc:sldChg chg="delSp modSp add mod">
        <pc:chgData name="Votana Srey" userId="13bee0a8-d205-440d-95f7-48959fdcf002" providerId="ADAL" clId="{0D44528D-A8F9-4657-BEDD-69DBD6A2190B}" dt="2023-02-02T17:41:12.654" v="1209" actId="207"/>
        <pc:sldMkLst>
          <pc:docMk/>
          <pc:sldMk cId="2546252987" sldId="10781"/>
        </pc:sldMkLst>
        <pc:spChg chg="mod">
          <ac:chgData name="Votana Srey" userId="13bee0a8-d205-440d-95f7-48959fdcf002" providerId="ADAL" clId="{0D44528D-A8F9-4657-BEDD-69DBD6A2190B}" dt="2023-02-02T17:41:12.654" v="1209" actId="207"/>
          <ac:spMkLst>
            <pc:docMk/>
            <pc:sldMk cId="2546252987" sldId="10781"/>
            <ac:spMk id="3" creationId="{00000000-0000-0000-0000-000000000000}"/>
          </ac:spMkLst>
        </pc:spChg>
        <pc:spChg chg="del mod">
          <ac:chgData name="Votana Srey" userId="13bee0a8-d205-440d-95f7-48959fdcf002" providerId="ADAL" clId="{0D44528D-A8F9-4657-BEDD-69DBD6A2190B}" dt="2023-02-02T17:40:27.696" v="1152" actId="478"/>
          <ac:spMkLst>
            <pc:docMk/>
            <pc:sldMk cId="2546252987" sldId="10781"/>
            <ac:spMk id="4" creationId="{00000000-0000-0000-0000-000000000000}"/>
          </ac:spMkLst>
        </pc:spChg>
        <pc:spChg chg="del mod">
          <ac:chgData name="Votana Srey" userId="13bee0a8-d205-440d-95f7-48959fdcf002" providerId="ADAL" clId="{0D44528D-A8F9-4657-BEDD-69DBD6A2190B}" dt="2023-02-02T17:40:29.622" v="1153" actId="478"/>
          <ac:spMkLst>
            <pc:docMk/>
            <pc:sldMk cId="2546252987" sldId="10781"/>
            <ac:spMk id="26" creationId="{00000000-0000-0000-0000-000000000000}"/>
          </ac:spMkLst>
        </pc:spChg>
        <pc:spChg chg="del mod">
          <ac:chgData name="Votana Srey" userId="13bee0a8-d205-440d-95f7-48959fdcf002" providerId="ADAL" clId="{0D44528D-A8F9-4657-BEDD-69DBD6A2190B}" dt="2023-02-02T17:40:32.104" v="1154" actId="478"/>
          <ac:spMkLst>
            <pc:docMk/>
            <pc:sldMk cId="2546252987" sldId="10781"/>
            <ac:spMk id="27" creationId="{00000000-0000-0000-0000-000000000000}"/>
          </ac:spMkLst>
        </pc:spChg>
        <pc:spChg chg="del">
          <ac:chgData name="Votana Srey" userId="13bee0a8-d205-440d-95f7-48959fdcf002" providerId="ADAL" clId="{0D44528D-A8F9-4657-BEDD-69DBD6A2190B}" dt="2023-02-02T17:40:34.508" v="1155" actId="478"/>
          <ac:spMkLst>
            <pc:docMk/>
            <pc:sldMk cId="2546252987" sldId="10781"/>
            <ac:spMk id="28" creationId="{00000000-0000-0000-0000-000000000000}"/>
          </ac:spMkLst>
        </pc:spChg>
      </pc:sldChg>
      <pc:sldChg chg="add del">
        <pc:chgData name="Votana Srey" userId="13bee0a8-d205-440d-95f7-48959fdcf002" providerId="ADAL" clId="{0D44528D-A8F9-4657-BEDD-69DBD6A2190B}" dt="2023-02-02T17:44:27.880" v="1271" actId="47"/>
        <pc:sldMkLst>
          <pc:docMk/>
          <pc:sldMk cId="1336227486" sldId="10783"/>
        </pc:sldMkLst>
      </pc:sldChg>
      <pc:sldChg chg="addSp modSp mod">
        <pc:chgData name="Votana Srey" userId="13bee0a8-d205-440d-95f7-48959fdcf002" providerId="ADAL" clId="{0D44528D-A8F9-4657-BEDD-69DBD6A2190B}" dt="2023-02-02T16:32:51.241" v="232" actId="1035"/>
        <pc:sldMkLst>
          <pc:docMk/>
          <pc:sldMk cId="1149770232" sldId="2147470097"/>
        </pc:sldMkLst>
        <pc:spChg chg="add mod">
          <ac:chgData name="Votana Srey" userId="13bee0a8-d205-440d-95f7-48959fdcf002" providerId="ADAL" clId="{0D44528D-A8F9-4657-BEDD-69DBD6A2190B}" dt="2023-02-02T16:32:51.241" v="232" actId="1035"/>
          <ac:spMkLst>
            <pc:docMk/>
            <pc:sldMk cId="1149770232" sldId="2147470097"/>
            <ac:spMk id="3" creationId="{797C5129-2A4D-518E-21EC-D245A4EF83CA}"/>
          </ac:spMkLst>
        </pc:spChg>
        <pc:spChg chg="mod">
          <ac:chgData name="Votana Srey" userId="13bee0a8-d205-440d-95f7-48959fdcf002" providerId="ADAL" clId="{0D44528D-A8F9-4657-BEDD-69DBD6A2190B}" dt="2023-02-02T16:31:41.071" v="150" actId="1076"/>
          <ac:spMkLst>
            <pc:docMk/>
            <pc:sldMk cId="1149770232" sldId="2147470097"/>
            <ac:spMk id="4" creationId="{00000000-0000-0000-0000-000000000000}"/>
          </ac:spMkLst>
        </pc:spChg>
        <pc:spChg chg="mod">
          <ac:chgData name="Votana Srey" userId="13bee0a8-d205-440d-95f7-48959fdcf002" providerId="ADAL" clId="{0D44528D-A8F9-4657-BEDD-69DBD6A2190B}" dt="2023-02-02T16:32:43.155" v="203" actId="255"/>
          <ac:spMkLst>
            <pc:docMk/>
            <pc:sldMk cId="1149770232" sldId="2147470097"/>
            <ac:spMk id="5" creationId="{00000000-0000-0000-0000-000000000000}"/>
          </ac:spMkLst>
        </pc:spChg>
        <pc:picChg chg="add mod">
          <ac:chgData name="Votana Srey" userId="13bee0a8-d205-440d-95f7-48959fdcf002" providerId="ADAL" clId="{0D44528D-A8F9-4657-BEDD-69DBD6A2190B}" dt="2023-02-02T16:31:03.823" v="146" actId="1076"/>
          <ac:picMkLst>
            <pc:docMk/>
            <pc:sldMk cId="1149770232" sldId="2147470097"/>
            <ac:picMk id="2" creationId="{30E6E209-DC34-AF65-C18C-E01E43391DA4}"/>
          </ac:picMkLst>
        </pc:picChg>
      </pc:sldChg>
      <pc:sldChg chg="addSp delSp modSp mod modClrScheme chgLayout">
        <pc:chgData name="Votana Srey" userId="13bee0a8-d205-440d-95f7-48959fdcf002" providerId="ADAL" clId="{0D44528D-A8F9-4657-BEDD-69DBD6A2190B}" dt="2023-02-02T18:11:36.117" v="2168" actId="1035"/>
        <pc:sldMkLst>
          <pc:docMk/>
          <pc:sldMk cId="1118502330" sldId="2147470098"/>
        </pc:sldMkLst>
        <pc:spChg chg="add del mod">
          <ac:chgData name="Votana Srey" userId="13bee0a8-d205-440d-95f7-48959fdcf002" providerId="ADAL" clId="{0D44528D-A8F9-4657-BEDD-69DBD6A2190B}" dt="2023-02-02T18:11:30.817" v="2143" actId="478"/>
          <ac:spMkLst>
            <pc:docMk/>
            <pc:sldMk cId="1118502330" sldId="2147470098"/>
            <ac:spMk id="3" creationId="{E1D2EFCB-8BBA-9C87-6A5F-C6173E9FEB43}"/>
          </ac:spMkLst>
        </pc:spChg>
        <pc:spChg chg="mod ord">
          <ac:chgData name="Votana Srey" userId="13bee0a8-d205-440d-95f7-48959fdcf002" providerId="ADAL" clId="{0D44528D-A8F9-4657-BEDD-69DBD6A2190B}" dt="2023-02-02T18:11:36.117" v="2168" actId="1035"/>
          <ac:spMkLst>
            <pc:docMk/>
            <pc:sldMk cId="1118502330" sldId="2147470098"/>
            <ac:spMk id="4" creationId="{00000000-0000-0000-0000-000000000000}"/>
          </ac:spMkLst>
        </pc:spChg>
        <pc:spChg chg="del mod ord">
          <ac:chgData name="Votana Srey" userId="13bee0a8-d205-440d-95f7-48959fdcf002" providerId="ADAL" clId="{0D44528D-A8F9-4657-BEDD-69DBD6A2190B}" dt="2023-02-02T18:11:28.890" v="2142" actId="478"/>
          <ac:spMkLst>
            <pc:docMk/>
            <pc:sldMk cId="1118502330" sldId="2147470098"/>
            <ac:spMk id="5" creationId="{00000000-0000-0000-0000-000000000000}"/>
          </ac:spMkLst>
        </pc:spChg>
      </pc:sldChg>
      <pc:sldChg chg="del">
        <pc:chgData name="Votana Srey" userId="13bee0a8-d205-440d-95f7-48959fdcf002" providerId="ADAL" clId="{0D44528D-A8F9-4657-BEDD-69DBD6A2190B}" dt="2023-02-02T18:07:54.607" v="2033" actId="47"/>
        <pc:sldMkLst>
          <pc:docMk/>
          <pc:sldMk cId="240311571" sldId="2147470100"/>
        </pc:sldMkLst>
      </pc:sldChg>
      <pc:sldChg chg="del">
        <pc:chgData name="Votana Srey" userId="13bee0a8-d205-440d-95f7-48959fdcf002" providerId="ADAL" clId="{0D44528D-A8F9-4657-BEDD-69DBD6A2190B}" dt="2023-02-02T18:07:46.891" v="2018" actId="47"/>
        <pc:sldMkLst>
          <pc:docMk/>
          <pc:sldMk cId="2094536389" sldId="2147470101"/>
        </pc:sldMkLst>
      </pc:sldChg>
      <pc:sldChg chg="del">
        <pc:chgData name="Votana Srey" userId="13bee0a8-d205-440d-95f7-48959fdcf002" providerId="ADAL" clId="{0D44528D-A8F9-4657-BEDD-69DBD6A2190B}" dt="2023-02-02T18:07:47.641" v="2020" actId="47"/>
        <pc:sldMkLst>
          <pc:docMk/>
          <pc:sldMk cId="1944512069" sldId="2147470102"/>
        </pc:sldMkLst>
      </pc:sldChg>
      <pc:sldChg chg="del">
        <pc:chgData name="Votana Srey" userId="13bee0a8-d205-440d-95f7-48959fdcf002" providerId="ADAL" clId="{0D44528D-A8F9-4657-BEDD-69DBD6A2190B}" dt="2023-02-02T18:07:54.450" v="2032" actId="47"/>
        <pc:sldMkLst>
          <pc:docMk/>
          <pc:sldMk cId="1573356619" sldId="2147470104"/>
        </pc:sldMkLst>
      </pc:sldChg>
      <pc:sldChg chg="modSp mod ord">
        <pc:chgData name="Votana Srey" userId="13bee0a8-d205-440d-95f7-48959fdcf002" providerId="ADAL" clId="{0D44528D-A8F9-4657-BEDD-69DBD6A2190B}" dt="2023-02-02T17:51:15.435" v="1525" actId="14100"/>
        <pc:sldMkLst>
          <pc:docMk/>
          <pc:sldMk cId="1588463707" sldId="2147470105"/>
        </pc:sldMkLst>
        <pc:spChg chg="mod">
          <ac:chgData name="Votana Srey" userId="13bee0a8-d205-440d-95f7-48959fdcf002" providerId="ADAL" clId="{0D44528D-A8F9-4657-BEDD-69DBD6A2190B}" dt="2023-02-02T17:51:15.435" v="1525" actId="14100"/>
          <ac:spMkLst>
            <pc:docMk/>
            <pc:sldMk cId="1588463707" sldId="2147470105"/>
            <ac:spMk id="3" creationId="{42753BA3-DCD5-B472-2122-FA188493B6F0}"/>
          </ac:spMkLst>
        </pc:spChg>
      </pc:sldChg>
      <pc:sldChg chg="modSp mod ord">
        <pc:chgData name="Votana Srey" userId="13bee0a8-d205-440d-95f7-48959fdcf002" providerId="ADAL" clId="{0D44528D-A8F9-4657-BEDD-69DBD6A2190B}" dt="2023-02-02T17:50:36.956" v="1507" actId="6559"/>
        <pc:sldMkLst>
          <pc:docMk/>
          <pc:sldMk cId="2506222391" sldId="2147470106"/>
        </pc:sldMkLst>
        <pc:spChg chg="mod">
          <ac:chgData name="Votana Srey" userId="13bee0a8-d205-440d-95f7-48959fdcf002" providerId="ADAL" clId="{0D44528D-A8F9-4657-BEDD-69DBD6A2190B}" dt="2023-02-02T17:50:36.956" v="1507" actId="6559"/>
          <ac:spMkLst>
            <pc:docMk/>
            <pc:sldMk cId="2506222391" sldId="2147470106"/>
            <ac:spMk id="3" creationId="{B4E3B212-F10D-EFE6-B6CF-6EC1B98DB0ED}"/>
          </ac:spMkLst>
        </pc:spChg>
      </pc:sldChg>
      <pc:sldChg chg="del">
        <pc:chgData name="Votana Srey" userId="13bee0a8-d205-440d-95f7-48959fdcf002" providerId="ADAL" clId="{0D44528D-A8F9-4657-BEDD-69DBD6A2190B}" dt="2023-02-02T18:07:49.350" v="2022" actId="47"/>
        <pc:sldMkLst>
          <pc:docMk/>
          <pc:sldMk cId="119905572" sldId="2147470112"/>
        </pc:sldMkLst>
      </pc:sldChg>
      <pc:sldChg chg="del">
        <pc:chgData name="Votana Srey" userId="13bee0a8-d205-440d-95f7-48959fdcf002" providerId="ADAL" clId="{0D44528D-A8F9-4657-BEDD-69DBD6A2190B}" dt="2023-02-02T18:07:49.652" v="2023" actId="47"/>
        <pc:sldMkLst>
          <pc:docMk/>
          <pc:sldMk cId="1242637693" sldId="2147470114"/>
        </pc:sldMkLst>
      </pc:sldChg>
      <pc:sldChg chg="del">
        <pc:chgData name="Votana Srey" userId="13bee0a8-d205-440d-95f7-48959fdcf002" providerId="ADAL" clId="{0D44528D-A8F9-4657-BEDD-69DBD6A2190B}" dt="2023-02-02T18:07:50.228" v="2024" actId="47"/>
        <pc:sldMkLst>
          <pc:docMk/>
          <pc:sldMk cId="1794843765" sldId="2147470115"/>
        </pc:sldMkLst>
      </pc:sldChg>
      <pc:sldChg chg="del">
        <pc:chgData name="Votana Srey" userId="13bee0a8-d205-440d-95f7-48959fdcf002" providerId="ADAL" clId="{0D44528D-A8F9-4657-BEDD-69DBD6A2190B}" dt="2023-02-02T18:07:50.634" v="2025" actId="47"/>
        <pc:sldMkLst>
          <pc:docMk/>
          <pc:sldMk cId="1251731655" sldId="2147470116"/>
        </pc:sldMkLst>
      </pc:sldChg>
      <pc:sldChg chg="del">
        <pc:chgData name="Votana Srey" userId="13bee0a8-d205-440d-95f7-48959fdcf002" providerId="ADAL" clId="{0D44528D-A8F9-4657-BEDD-69DBD6A2190B}" dt="2023-02-02T18:07:50.993" v="2026" actId="47"/>
        <pc:sldMkLst>
          <pc:docMk/>
          <pc:sldMk cId="1856795201" sldId="2147470117"/>
        </pc:sldMkLst>
      </pc:sldChg>
      <pc:sldChg chg="del">
        <pc:chgData name="Votana Srey" userId="13bee0a8-d205-440d-95f7-48959fdcf002" providerId="ADAL" clId="{0D44528D-A8F9-4657-BEDD-69DBD6A2190B}" dt="2023-02-02T18:07:51.537" v="2027" actId="47"/>
        <pc:sldMkLst>
          <pc:docMk/>
          <pc:sldMk cId="1878782500" sldId="2147470118"/>
        </pc:sldMkLst>
      </pc:sldChg>
      <pc:sldChg chg="del">
        <pc:chgData name="Votana Srey" userId="13bee0a8-d205-440d-95f7-48959fdcf002" providerId="ADAL" clId="{0D44528D-A8F9-4657-BEDD-69DBD6A2190B}" dt="2023-02-02T18:07:52.235" v="2028" actId="47"/>
        <pc:sldMkLst>
          <pc:docMk/>
          <pc:sldMk cId="1213199871" sldId="2147470119"/>
        </pc:sldMkLst>
      </pc:sldChg>
      <pc:sldChg chg="del">
        <pc:chgData name="Votana Srey" userId="13bee0a8-d205-440d-95f7-48959fdcf002" providerId="ADAL" clId="{0D44528D-A8F9-4657-BEDD-69DBD6A2190B}" dt="2023-02-02T18:07:52.911" v="2029" actId="47"/>
        <pc:sldMkLst>
          <pc:docMk/>
          <pc:sldMk cId="1479560957" sldId="2147470120"/>
        </pc:sldMkLst>
      </pc:sldChg>
      <pc:sldChg chg="del">
        <pc:chgData name="Votana Srey" userId="13bee0a8-d205-440d-95f7-48959fdcf002" providerId="ADAL" clId="{0D44528D-A8F9-4657-BEDD-69DBD6A2190B}" dt="2023-02-02T18:07:53.602" v="2030" actId="47"/>
        <pc:sldMkLst>
          <pc:docMk/>
          <pc:sldMk cId="2642522327" sldId="2147470121"/>
        </pc:sldMkLst>
      </pc:sldChg>
      <pc:sldChg chg="del">
        <pc:chgData name="Votana Srey" userId="13bee0a8-d205-440d-95f7-48959fdcf002" providerId="ADAL" clId="{0D44528D-A8F9-4657-BEDD-69DBD6A2190B}" dt="2023-02-02T18:07:54.203" v="2031" actId="47"/>
        <pc:sldMkLst>
          <pc:docMk/>
          <pc:sldMk cId="2689273559" sldId="2147470122"/>
        </pc:sldMkLst>
      </pc:sldChg>
      <pc:sldChg chg="del">
        <pc:chgData name="Votana Srey" userId="13bee0a8-d205-440d-95f7-48959fdcf002" providerId="ADAL" clId="{0D44528D-A8F9-4657-BEDD-69DBD6A2190B}" dt="2023-02-02T18:07:30.584" v="1997" actId="47"/>
        <pc:sldMkLst>
          <pc:docMk/>
          <pc:sldMk cId="2201393052" sldId="2147470125"/>
        </pc:sldMkLst>
      </pc:sldChg>
      <pc:sldChg chg="del">
        <pc:chgData name="Votana Srey" userId="13bee0a8-d205-440d-95f7-48959fdcf002" providerId="ADAL" clId="{0D44528D-A8F9-4657-BEDD-69DBD6A2190B}" dt="2023-02-02T18:07:31.266" v="1998" actId="47"/>
        <pc:sldMkLst>
          <pc:docMk/>
          <pc:sldMk cId="496132038" sldId="2147470126"/>
        </pc:sldMkLst>
      </pc:sldChg>
      <pc:sldChg chg="del">
        <pc:chgData name="Votana Srey" userId="13bee0a8-d205-440d-95f7-48959fdcf002" providerId="ADAL" clId="{0D44528D-A8F9-4657-BEDD-69DBD6A2190B}" dt="2023-02-02T18:07:32.345" v="2000" actId="47"/>
        <pc:sldMkLst>
          <pc:docMk/>
          <pc:sldMk cId="201456352" sldId="2147470127"/>
        </pc:sldMkLst>
      </pc:sldChg>
      <pc:sldChg chg="del">
        <pc:chgData name="Votana Srey" userId="13bee0a8-d205-440d-95f7-48959fdcf002" providerId="ADAL" clId="{0D44528D-A8F9-4657-BEDD-69DBD6A2190B}" dt="2023-02-02T18:07:31.751" v="1999" actId="47"/>
        <pc:sldMkLst>
          <pc:docMk/>
          <pc:sldMk cId="2368328289" sldId="2147470128"/>
        </pc:sldMkLst>
      </pc:sldChg>
      <pc:sldChg chg="add del">
        <pc:chgData name="Votana Srey" userId="13bee0a8-d205-440d-95f7-48959fdcf002" providerId="ADAL" clId="{0D44528D-A8F9-4657-BEDD-69DBD6A2190B}" dt="2023-02-02T18:07:23.877" v="1996" actId="47"/>
        <pc:sldMkLst>
          <pc:docMk/>
          <pc:sldMk cId="2082566771" sldId="2147470129"/>
        </pc:sldMkLst>
      </pc:sldChg>
      <pc:sldChg chg="addSp delSp modSp add mod modClrScheme chgLayout">
        <pc:chgData name="Votana Srey" userId="13bee0a8-d205-440d-95f7-48959fdcf002" providerId="ADAL" clId="{0D44528D-A8F9-4657-BEDD-69DBD6A2190B}" dt="2023-02-02T17:14:31.827" v="877" actId="1036"/>
        <pc:sldMkLst>
          <pc:docMk/>
          <pc:sldMk cId="2968204835" sldId="2147470130"/>
        </pc:sldMkLst>
        <pc:spChg chg="add mod ord">
          <ac:chgData name="Votana Srey" userId="13bee0a8-d205-440d-95f7-48959fdcf002" providerId="ADAL" clId="{0D44528D-A8F9-4657-BEDD-69DBD6A2190B}" dt="2023-02-02T17:14:31.827" v="877" actId="1036"/>
          <ac:spMkLst>
            <pc:docMk/>
            <pc:sldMk cId="2968204835" sldId="2147470130"/>
            <ac:spMk id="3" creationId="{E0BD5093-B7A6-3F5C-BE82-C39C446A96A8}"/>
          </ac:spMkLst>
        </pc:spChg>
        <pc:spChg chg="del mod ord">
          <ac:chgData name="Votana Srey" userId="13bee0a8-d205-440d-95f7-48959fdcf002" providerId="ADAL" clId="{0D44528D-A8F9-4657-BEDD-69DBD6A2190B}" dt="2023-02-02T17:09:51.771" v="757" actId="478"/>
          <ac:spMkLst>
            <pc:docMk/>
            <pc:sldMk cId="2968204835" sldId="2147470130"/>
            <ac:spMk id="4" creationId="{4AF8DB76-A1BB-53E6-60F7-6C2E10718A84}"/>
          </ac:spMkLst>
        </pc:spChg>
        <pc:spChg chg="del mod ord">
          <ac:chgData name="Votana Srey" userId="13bee0a8-d205-440d-95f7-48959fdcf002" providerId="ADAL" clId="{0D44528D-A8F9-4657-BEDD-69DBD6A2190B}" dt="2023-02-02T17:09:51.771" v="757" actId="478"/>
          <ac:spMkLst>
            <pc:docMk/>
            <pc:sldMk cId="2968204835" sldId="2147470130"/>
            <ac:spMk id="5" creationId="{E2A9A272-C378-770B-D57A-D67FA2F82F87}"/>
          </ac:spMkLst>
        </pc:spChg>
        <pc:spChg chg="add mod ord">
          <ac:chgData name="Votana Srey" userId="13bee0a8-d205-440d-95f7-48959fdcf002" providerId="ADAL" clId="{0D44528D-A8F9-4657-BEDD-69DBD6A2190B}" dt="2023-02-02T17:14:31.827" v="877" actId="1036"/>
          <ac:spMkLst>
            <pc:docMk/>
            <pc:sldMk cId="2968204835" sldId="2147470130"/>
            <ac:spMk id="6" creationId="{2C1688F7-79E1-74BF-1382-7D09241AFFDE}"/>
          </ac:spMkLst>
        </pc:spChg>
        <pc:picChg chg="add mod">
          <ac:chgData name="Votana Srey" userId="13bee0a8-d205-440d-95f7-48959fdcf002" providerId="ADAL" clId="{0D44528D-A8F9-4657-BEDD-69DBD6A2190B}" dt="2023-02-02T17:10:05.855" v="758"/>
          <ac:picMkLst>
            <pc:docMk/>
            <pc:sldMk cId="2968204835" sldId="2147470130"/>
            <ac:picMk id="2" creationId="{112747FD-1C4B-DB3E-BEF7-36730B567FB3}"/>
          </ac:picMkLst>
        </pc:picChg>
      </pc:sldChg>
      <pc:sldChg chg="addSp delSp modSp add mod modClrScheme chgLayout">
        <pc:chgData name="Votana Srey" userId="13bee0a8-d205-440d-95f7-48959fdcf002" providerId="ADAL" clId="{0D44528D-A8F9-4657-BEDD-69DBD6A2190B}" dt="2023-02-02T17:19:03.185" v="957" actId="1035"/>
        <pc:sldMkLst>
          <pc:docMk/>
          <pc:sldMk cId="3715923711" sldId="2147470131"/>
        </pc:sldMkLst>
        <pc:spChg chg="add mod">
          <ac:chgData name="Votana Srey" userId="13bee0a8-d205-440d-95f7-48959fdcf002" providerId="ADAL" clId="{0D44528D-A8F9-4657-BEDD-69DBD6A2190B}" dt="2023-02-02T17:17:04.171" v="907" actId="1076"/>
          <ac:spMkLst>
            <pc:docMk/>
            <pc:sldMk cId="3715923711" sldId="2147470131"/>
            <ac:spMk id="3" creationId="{8EB9F8E2-FCD7-9871-1428-25A84BE9AC58}"/>
          </ac:spMkLst>
        </pc:spChg>
        <pc:spChg chg="del mod ord">
          <ac:chgData name="Votana Srey" userId="13bee0a8-d205-440d-95f7-48959fdcf002" providerId="ADAL" clId="{0D44528D-A8F9-4657-BEDD-69DBD6A2190B}" dt="2023-02-02T17:16:28.972" v="886" actId="478"/>
          <ac:spMkLst>
            <pc:docMk/>
            <pc:sldMk cId="3715923711" sldId="2147470131"/>
            <ac:spMk id="4" creationId="{4AF8DB76-A1BB-53E6-60F7-6C2E10718A84}"/>
          </ac:spMkLst>
        </pc:spChg>
        <pc:spChg chg="del mod ord">
          <ac:chgData name="Votana Srey" userId="13bee0a8-d205-440d-95f7-48959fdcf002" providerId="ADAL" clId="{0D44528D-A8F9-4657-BEDD-69DBD6A2190B}" dt="2023-02-02T17:16:28.972" v="886" actId="478"/>
          <ac:spMkLst>
            <pc:docMk/>
            <pc:sldMk cId="3715923711" sldId="2147470131"/>
            <ac:spMk id="5" creationId="{E2A9A272-C378-770B-D57A-D67FA2F82F87}"/>
          </ac:spMkLst>
        </pc:spChg>
        <pc:spChg chg="add del">
          <ac:chgData name="Votana Srey" userId="13bee0a8-d205-440d-95f7-48959fdcf002" providerId="ADAL" clId="{0D44528D-A8F9-4657-BEDD-69DBD6A2190B}" dt="2023-02-02T17:17:28.897" v="909" actId="478"/>
          <ac:spMkLst>
            <pc:docMk/>
            <pc:sldMk cId="3715923711" sldId="2147470131"/>
            <ac:spMk id="7" creationId="{85377BFC-2EDC-4CBE-17AF-37AAC7AF2C1B}"/>
          </ac:spMkLst>
        </pc:spChg>
        <pc:spChg chg="add mod">
          <ac:chgData name="Votana Srey" userId="13bee0a8-d205-440d-95f7-48959fdcf002" providerId="ADAL" clId="{0D44528D-A8F9-4657-BEDD-69DBD6A2190B}" dt="2023-02-02T17:19:03.185" v="957" actId="1035"/>
          <ac:spMkLst>
            <pc:docMk/>
            <pc:sldMk cId="3715923711" sldId="2147470131"/>
            <ac:spMk id="9" creationId="{986D915E-055C-A50F-6EE2-5DB0D770D48A}"/>
          </ac:spMkLst>
        </pc:spChg>
        <pc:picChg chg="add mod">
          <ac:chgData name="Votana Srey" userId="13bee0a8-d205-440d-95f7-48959fdcf002" providerId="ADAL" clId="{0D44528D-A8F9-4657-BEDD-69DBD6A2190B}" dt="2023-02-02T17:16:25.775" v="885"/>
          <ac:picMkLst>
            <pc:docMk/>
            <pc:sldMk cId="3715923711" sldId="2147470131"/>
            <ac:picMk id="2" creationId="{1AA11E91-1F58-230D-B52B-BD98CBC684C2}"/>
          </ac:picMkLst>
        </pc:picChg>
      </pc:sldChg>
      <pc:sldChg chg="add del">
        <pc:chgData name="Votana Srey" userId="13bee0a8-d205-440d-95f7-48959fdcf002" providerId="ADAL" clId="{0D44528D-A8F9-4657-BEDD-69DBD6A2190B}" dt="2023-02-02T18:07:23.294" v="1995" actId="47"/>
        <pc:sldMkLst>
          <pc:docMk/>
          <pc:sldMk cId="3603388127" sldId="2147470132"/>
        </pc:sldMkLst>
      </pc:sldChg>
      <pc:sldChg chg="addSp delSp modSp add mod chgLayout">
        <pc:chgData name="Votana Srey" userId="13bee0a8-d205-440d-95f7-48959fdcf002" providerId="ADAL" clId="{0D44528D-A8F9-4657-BEDD-69DBD6A2190B}" dt="2023-02-03T02:07:04.472" v="2497" actId="208"/>
        <pc:sldMkLst>
          <pc:docMk/>
          <pc:sldMk cId="4156277494" sldId="2147470133"/>
        </pc:sldMkLst>
        <pc:spChg chg="add del mod ord">
          <ac:chgData name="Votana Srey" userId="13bee0a8-d205-440d-95f7-48959fdcf002" providerId="ADAL" clId="{0D44528D-A8F9-4657-BEDD-69DBD6A2190B}" dt="2023-02-02T17:25:37.651" v="1091" actId="700"/>
          <ac:spMkLst>
            <pc:docMk/>
            <pc:sldMk cId="4156277494" sldId="2147470133"/>
            <ac:spMk id="3" creationId="{E3458B57-3A50-59AC-982D-473C9C02E970}"/>
          </ac:spMkLst>
        </pc:spChg>
        <pc:spChg chg="add del mod ord">
          <ac:chgData name="Votana Srey" userId="13bee0a8-d205-440d-95f7-48959fdcf002" providerId="ADAL" clId="{0D44528D-A8F9-4657-BEDD-69DBD6A2190B}" dt="2023-02-02T17:25:37.651" v="1091" actId="700"/>
          <ac:spMkLst>
            <pc:docMk/>
            <pc:sldMk cId="4156277494" sldId="2147470133"/>
            <ac:spMk id="4" creationId="{3556EE42-BA94-0D87-F15D-2602103594BE}"/>
          </ac:spMkLst>
        </pc:spChg>
        <pc:spChg chg="add del mod ord">
          <ac:chgData name="Votana Srey" userId="13bee0a8-d205-440d-95f7-48959fdcf002" providerId="ADAL" clId="{0D44528D-A8F9-4657-BEDD-69DBD6A2190B}" dt="2023-02-02T17:25:37.651" v="1091" actId="700"/>
          <ac:spMkLst>
            <pc:docMk/>
            <pc:sldMk cId="4156277494" sldId="2147470133"/>
            <ac:spMk id="5" creationId="{F0E18EF5-205A-05E1-21B0-4BC15D55FFDD}"/>
          </ac:spMkLst>
        </pc:spChg>
        <pc:spChg chg="add del mod ord">
          <ac:chgData name="Votana Srey" userId="13bee0a8-d205-440d-95f7-48959fdcf002" providerId="ADAL" clId="{0D44528D-A8F9-4657-BEDD-69DBD6A2190B}" dt="2023-02-02T17:25:37.651" v="1091" actId="700"/>
          <ac:spMkLst>
            <pc:docMk/>
            <pc:sldMk cId="4156277494" sldId="2147470133"/>
            <ac:spMk id="6" creationId="{4B071460-3868-0F37-190C-C2B3D3B78E56}"/>
          </ac:spMkLst>
        </pc:spChg>
        <pc:spChg chg="add del mod ord">
          <ac:chgData name="Votana Srey" userId="13bee0a8-d205-440d-95f7-48959fdcf002" providerId="ADAL" clId="{0D44528D-A8F9-4657-BEDD-69DBD6A2190B}" dt="2023-02-02T17:25:37.651" v="1091" actId="700"/>
          <ac:spMkLst>
            <pc:docMk/>
            <pc:sldMk cId="4156277494" sldId="2147470133"/>
            <ac:spMk id="7" creationId="{6D2CF73C-AA5D-E7E7-6391-6128F2A7086A}"/>
          </ac:spMkLst>
        </pc:spChg>
        <pc:spChg chg="add del mod ord">
          <ac:chgData name="Votana Srey" userId="13bee0a8-d205-440d-95f7-48959fdcf002" providerId="ADAL" clId="{0D44528D-A8F9-4657-BEDD-69DBD6A2190B}" dt="2023-02-02T17:25:37.651" v="1091" actId="700"/>
          <ac:spMkLst>
            <pc:docMk/>
            <pc:sldMk cId="4156277494" sldId="2147470133"/>
            <ac:spMk id="8" creationId="{62B79BCB-EF02-4E7F-88D0-71BD77AFFA6A}"/>
          </ac:spMkLst>
        </pc:spChg>
        <pc:spChg chg="add del mod ord">
          <ac:chgData name="Votana Srey" userId="13bee0a8-d205-440d-95f7-48959fdcf002" providerId="ADAL" clId="{0D44528D-A8F9-4657-BEDD-69DBD6A2190B}" dt="2023-02-02T17:25:37.651" v="1091" actId="700"/>
          <ac:spMkLst>
            <pc:docMk/>
            <pc:sldMk cId="4156277494" sldId="2147470133"/>
            <ac:spMk id="9" creationId="{63F73909-C154-94CC-AC1E-7228903214C3}"/>
          </ac:spMkLst>
        </pc:spChg>
        <pc:spChg chg="add del mod ord">
          <ac:chgData name="Votana Srey" userId="13bee0a8-d205-440d-95f7-48959fdcf002" providerId="ADAL" clId="{0D44528D-A8F9-4657-BEDD-69DBD6A2190B}" dt="2023-02-02T17:25:37.651" v="1091" actId="700"/>
          <ac:spMkLst>
            <pc:docMk/>
            <pc:sldMk cId="4156277494" sldId="2147470133"/>
            <ac:spMk id="10" creationId="{BF84A884-AC7D-B9A4-B625-B4C81D534600}"/>
          </ac:spMkLst>
        </pc:spChg>
        <pc:spChg chg="add mod ord">
          <ac:chgData name="Votana Srey" userId="13bee0a8-d205-440d-95f7-48959fdcf002" providerId="ADAL" clId="{0D44528D-A8F9-4657-BEDD-69DBD6A2190B}" dt="2023-02-02T17:28:04.310" v="1112" actId="20577"/>
          <ac:spMkLst>
            <pc:docMk/>
            <pc:sldMk cId="4156277494" sldId="2147470133"/>
            <ac:spMk id="11" creationId="{DDD5BFE8-3778-D814-9005-F92647F6A38C}"/>
          </ac:spMkLst>
        </pc:spChg>
        <pc:spChg chg="add del mod ord">
          <ac:chgData name="Votana Srey" userId="13bee0a8-d205-440d-95f7-48959fdcf002" providerId="ADAL" clId="{0D44528D-A8F9-4657-BEDD-69DBD6A2190B}" dt="2023-02-02T17:43:21.971" v="1211" actId="478"/>
          <ac:spMkLst>
            <pc:docMk/>
            <pc:sldMk cId="4156277494" sldId="2147470133"/>
            <ac:spMk id="12" creationId="{1027804F-EB37-0D37-F45C-77E2C8EF7F84}"/>
          </ac:spMkLst>
        </pc:spChg>
        <pc:spChg chg="add mod ord">
          <ac:chgData name="Votana Srey" userId="13bee0a8-d205-440d-95f7-48959fdcf002" providerId="ADAL" clId="{0D44528D-A8F9-4657-BEDD-69DBD6A2190B}" dt="2023-02-02T17:28:50.187" v="1116" actId="6559"/>
          <ac:spMkLst>
            <pc:docMk/>
            <pc:sldMk cId="4156277494" sldId="2147470133"/>
            <ac:spMk id="13" creationId="{F6763D6D-0720-BC62-D344-87AE915D47CA}"/>
          </ac:spMkLst>
        </pc:spChg>
        <pc:spChg chg="add del mod ord">
          <ac:chgData name="Votana Srey" userId="13bee0a8-d205-440d-95f7-48959fdcf002" providerId="ADAL" clId="{0D44528D-A8F9-4657-BEDD-69DBD6A2190B}" dt="2023-02-02T17:43:24.669" v="1212" actId="478"/>
          <ac:spMkLst>
            <pc:docMk/>
            <pc:sldMk cId="4156277494" sldId="2147470133"/>
            <ac:spMk id="14" creationId="{457FD6DE-DE9D-A962-7C9F-146E717E1CD2}"/>
          </ac:spMkLst>
        </pc:spChg>
        <pc:spChg chg="add mod ord">
          <ac:chgData name="Votana Srey" userId="13bee0a8-d205-440d-95f7-48959fdcf002" providerId="ADAL" clId="{0D44528D-A8F9-4657-BEDD-69DBD6A2190B}" dt="2023-02-02T17:48:33.291" v="1432" actId="1037"/>
          <ac:spMkLst>
            <pc:docMk/>
            <pc:sldMk cId="4156277494" sldId="2147470133"/>
            <ac:spMk id="15" creationId="{92F587AD-A3EE-D917-53B7-17C8A5BDD5BF}"/>
          </ac:spMkLst>
        </pc:spChg>
        <pc:spChg chg="add del mod ord">
          <ac:chgData name="Votana Srey" userId="13bee0a8-d205-440d-95f7-48959fdcf002" providerId="ADAL" clId="{0D44528D-A8F9-4657-BEDD-69DBD6A2190B}" dt="2023-02-02T17:29:26.794" v="1118" actId="478"/>
          <ac:spMkLst>
            <pc:docMk/>
            <pc:sldMk cId="4156277494" sldId="2147470133"/>
            <ac:spMk id="16" creationId="{50F8F400-3A78-8915-21A0-6463435F27D2}"/>
          </ac:spMkLst>
        </pc:spChg>
        <pc:spChg chg="add mod ord">
          <ac:chgData name="Votana Srey" userId="13bee0a8-d205-440d-95f7-48959fdcf002" providerId="ADAL" clId="{0D44528D-A8F9-4657-BEDD-69DBD6A2190B}" dt="2023-02-02T17:48:33.291" v="1432" actId="1037"/>
          <ac:spMkLst>
            <pc:docMk/>
            <pc:sldMk cId="4156277494" sldId="2147470133"/>
            <ac:spMk id="17" creationId="{87573F92-9524-3F57-CDBA-C653E60852AB}"/>
          </ac:spMkLst>
        </pc:spChg>
        <pc:spChg chg="add del mod ord">
          <ac:chgData name="Votana Srey" userId="13bee0a8-d205-440d-95f7-48959fdcf002" providerId="ADAL" clId="{0D44528D-A8F9-4657-BEDD-69DBD6A2190B}" dt="2023-02-02T17:29:26.794" v="1118" actId="478"/>
          <ac:spMkLst>
            <pc:docMk/>
            <pc:sldMk cId="4156277494" sldId="2147470133"/>
            <ac:spMk id="18" creationId="{8B0942B1-5AA9-DDA3-BE40-6A23D371E86C}"/>
          </ac:spMkLst>
        </pc:spChg>
        <pc:spChg chg="add del mod">
          <ac:chgData name="Votana Srey" userId="13bee0a8-d205-440d-95f7-48959fdcf002" providerId="ADAL" clId="{0D44528D-A8F9-4657-BEDD-69DBD6A2190B}" dt="2023-02-02T17:43:43.604" v="1239" actId="478"/>
          <ac:spMkLst>
            <pc:docMk/>
            <pc:sldMk cId="4156277494" sldId="2147470133"/>
            <ac:spMk id="19" creationId="{49E32B8D-F74B-B2A5-3406-3EC84844F713}"/>
          </ac:spMkLst>
        </pc:spChg>
        <pc:spChg chg="add mod">
          <ac:chgData name="Votana Srey" userId="13bee0a8-d205-440d-95f7-48959fdcf002" providerId="ADAL" clId="{0D44528D-A8F9-4657-BEDD-69DBD6A2190B}" dt="2023-02-03T02:07:04.472" v="2497" actId="208"/>
          <ac:spMkLst>
            <pc:docMk/>
            <pc:sldMk cId="4156277494" sldId="2147470133"/>
            <ac:spMk id="21" creationId="{E0064FD7-EFE6-C6D5-7CFB-B42CB9518282}"/>
          </ac:spMkLst>
        </pc:spChg>
        <pc:spChg chg="add mod">
          <ac:chgData name="Votana Srey" userId="13bee0a8-d205-440d-95f7-48959fdcf002" providerId="ADAL" clId="{0D44528D-A8F9-4657-BEDD-69DBD6A2190B}" dt="2023-02-03T02:07:04.472" v="2497" actId="208"/>
          <ac:spMkLst>
            <pc:docMk/>
            <pc:sldMk cId="4156277494" sldId="2147470133"/>
            <ac:spMk id="22" creationId="{4AFF26B3-8221-45AE-D0D3-2981F0010D3A}"/>
          </ac:spMkLst>
        </pc:spChg>
        <pc:spChg chg="add mod">
          <ac:chgData name="Votana Srey" userId="13bee0a8-d205-440d-95f7-48959fdcf002" providerId="ADAL" clId="{0D44528D-A8F9-4657-BEDD-69DBD6A2190B}" dt="2023-02-03T02:07:04.472" v="2497" actId="208"/>
          <ac:spMkLst>
            <pc:docMk/>
            <pc:sldMk cId="4156277494" sldId="2147470133"/>
            <ac:spMk id="23" creationId="{8BF27654-9ADF-1F7E-E4A9-76331A9F5C5B}"/>
          </ac:spMkLst>
        </pc:spChg>
        <pc:spChg chg="add del mod">
          <ac:chgData name="Votana Srey" userId="13bee0a8-d205-440d-95f7-48959fdcf002" providerId="ADAL" clId="{0D44528D-A8F9-4657-BEDD-69DBD6A2190B}" dt="2023-02-02T17:48:23.386" v="1366" actId="478"/>
          <ac:spMkLst>
            <pc:docMk/>
            <pc:sldMk cId="4156277494" sldId="2147470133"/>
            <ac:spMk id="24" creationId="{60ECE708-6301-AE2A-2DFF-10A1513D7332}"/>
          </ac:spMkLst>
        </pc:spChg>
        <pc:spChg chg="add del mod">
          <ac:chgData name="Votana Srey" userId="13bee0a8-d205-440d-95f7-48959fdcf002" providerId="ADAL" clId="{0D44528D-A8F9-4657-BEDD-69DBD6A2190B}" dt="2023-02-02T17:43:45.696" v="1240" actId="478"/>
          <ac:spMkLst>
            <pc:docMk/>
            <pc:sldMk cId="4156277494" sldId="2147470133"/>
            <ac:spMk id="26" creationId="{B3A0BD50-D730-C78F-0181-4A54B2110DDA}"/>
          </ac:spMkLst>
        </pc:spChg>
        <pc:spChg chg="add del mod">
          <ac:chgData name="Votana Srey" userId="13bee0a8-d205-440d-95f7-48959fdcf002" providerId="ADAL" clId="{0D44528D-A8F9-4657-BEDD-69DBD6A2190B}" dt="2023-02-02T17:43:43.604" v="1239" actId="478"/>
          <ac:spMkLst>
            <pc:docMk/>
            <pc:sldMk cId="4156277494" sldId="2147470133"/>
            <ac:spMk id="28" creationId="{31852D5C-88EF-DC60-6E8D-CAA9345156FF}"/>
          </ac:spMkLst>
        </pc:spChg>
        <pc:spChg chg="add del mod">
          <ac:chgData name="Votana Srey" userId="13bee0a8-d205-440d-95f7-48959fdcf002" providerId="ADAL" clId="{0D44528D-A8F9-4657-BEDD-69DBD6A2190B}" dt="2023-02-02T17:43:43.604" v="1239" actId="478"/>
          <ac:spMkLst>
            <pc:docMk/>
            <pc:sldMk cId="4156277494" sldId="2147470133"/>
            <ac:spMk id="30" creationId="{282BFCF2-A23A-E7A7-E5DA-A9789945FCD7}"/>
          </ac:spMkLst>
        </pc:spChg>
        <pc:spChg chg="add del mod">
          <ac:chgData name="Votana Srey" userId="13bee0a8-d205-440d-95f7-48959fdcf002" providerId="ADAL" clId="{0D44528D-A8F9-4657-BEDD-69DBD6A2190B}" dt="2023-02-02T17:43:35.400" v="1236" actId="478"/>
          <ac:spMkLst>
            <pc:docMk/>
            <pc:sldMk cId="4156277494" sldId="2147470133"/>
            <ac:spMk id="31" creationId="{28B11880-A2F4-F0C9-DF5E-CB5A29629008}"/>
          </ac:spMkLst>
        </pc:spChg>
        <pc:spChg chg="add del mod">
          <ac:chgData name="Votana Srey" userId="13bee0a8-d205-440d-95f7-48959fdcf002" providerId="ADAL" clId="{0D44528D-A8F9-4657-BEDD-69DBD6A2190B}" dt="2023-02-02T17:43:37.190" v="1237" actId="478"/>
          <ac:spMkLst>
            <pc:docMk/>
            <pc:sldMk cId="4156277494" sldId="2147470133"/>
            <ac:spMk id="32" creationId="{4AF966B3-3D28-550A-277F-8BDBC0440DEE}"/>
          </ac:spMkLst>
        </pc:spChg>
        <pc:spChg chg="add del mod">
          <ac:chgData name="Votana Srey" userId="13bee0a8-d205-440d-95f7-48959fdcf002" providerId="ADAL" clId="{0D44528D-A8F9-4657-BEDD-69DBD6A2190B}" dt="2023-02-02T17:43:38.934" v="1238" actId="478"/>
          <ac:spMkLst>
            <pc:docMk/>
            <pc:sldMk cId="4156277494" sldId="2147470133"/>
            <ac:spMk id="33" creationId="{A1EFA73C-B4D4-0B0F-8205-8242546B0FD5}"/>
          </ac:spMkLst>
        </pc:spChg>
        <pc:spChg chg="add mod">
          <ac:chgData name="Votana Srey" userId="13bee0a8-d205-440d-95f7-48959fdcf002" providerId="ADAL" clId="{0D44528D-A8F9-4657-BEDD-69DBD6A2190B}" dt="2023-02-02T17:48:33.291" v="1432" actId="1037"/>
          <ac:spMkLst>
            <pc:docMk/>
            <pc:sldMk cId="4156277494" sldId="2147470133"/>
            <ac:spMk id="34" creationId="{4678DD2C-27D2-03AA-EDCF-02C5740F1239}"/>
          </ac:spMkLst>
        </pc:spChg>
        <pc:spChg chg="add mod">
          <ac:chgData name="Votana Srey" userId="13bee0a8-d205-440d-95f7-48959fdcf002" providerId="ADAL" clId="{0D44528D-A8F9-4657-BEDD-69DBD6A2190B}" dt="2023-02-02T17:48:33.291" v="1432" actId="1037"/>
          <ac:spMkLst>
            <pc:docMk/>
            <pc:sldMk cId="4156277494" sldId="2147470133"/>
            <ac:spMk id="36" creationId="{DB351719-2A63-84D4-2BBD-48DA6D8FB123}"/>
          </ac:spMkLst>
        </pc:spChg>
        <pc:spChg chg="add mod">
          <ac:chgData name="Votana Srey" userId="13bee0a8-d205-440d-95f7-48959fdcf002" providerId="ADAL" clId="{0D44528D-A8F9-4657-BEDD-69DBD6A2190B}" dt="2023-02-02T17:54:33.007" v="1679" actId="20577"/>
          <ac:spMkLst>
            <pc:docMk/>
            <pc:sldMk cId="4156277494" sldId="2147470133"/>
            <ac:spMk id="37" creationId="{B4FB2C8D-1041-51AC-9197-8A1E6A46655E}"/>
          </ac:spMkLst>
        </pc:spChg>
        <pc:spChg chg="add mod">
          <ac:chgData name="Votana Srey" userId="13bee0a8-d205-440d-95f7-48959fdcf002" providerId="ADAL" clId="{0D44528D-A8F9-4657-BEDD-69DBD6A2190B}" dt="2023-02-02T17:48:33.291" v="1432" actId="1037"/>
          <ac:spMkLst>
            <pc:docMk/>
            <pc:sldMk cId="4156277494" sldId="2147470133"/>
            <ac:spMk id="38" creationId="{822BF3C1-71E2-4508-E20B-711FF5BD3BD4}"/>
          </ac:spMkLst>
        </pc:spChg>
        <pc:spChg chg="add mod">
          <ac:chgData name="Votana Srey" userId="13bee0a8-d205-440d-95f7-48959fdcf002" providerId="ADAL" clId="{0D44528D-A8F9-4657-BEDD-69DBD6A2190B}" dt="2023-02-03T02:07:04.472" v="2497" actId="208"/>
          <ac:spMkLst>
            <pc:docMk/>
            <pc:sldMk cId="4156277494" sldId="2147470133"/>
            <ac:spMk id="39" creationId="{8C01A950-23CA-E9B5-3397-801B8BDD1B32}"/>
          </ac:spMkLst>
        </pc:spChg>
        <pc:spChg chg="add mod">
          <ac:chgData name="Votana Srey" userId="13bee0a8-d205-440d-95f7-48959fdcf002" providerId="ADAL" clId="{0D44528D-A8F9-4657-BEDD-69DBD6A2190B}" dt="2023-02-02T17:54:00.535" v="1660" actId="20577"/>
          <ac:spMkLst>
            <pc:docMk/>
            <pc:sldMk cId="4156277494" sldId="2147470133"/>
            <ac:spMk id="40" creationId="{21F152BA-95F2-6562-0F0E-196312539742}"/>
          </ac:spMkLst>
        </pc:spChg>
        <pc:spChg chg="add mod">
          <ac:chgData name="Votana Srey" userId="13bee0a8-d205-440d-95f7-48959fdcf002" providerId="ADAL" clId="{0D44528D-A8F9-4657-BEDD-69DBD6A2190B}" dt="2023-02-02T17:54:09.057" v="1661"/>
          <ac:spMkLst>
            <pc:docMk/>
            <pc:sldMk cId="4156277494" sldId="2147470133"/>
            <ac:spMk id="41" creationId="{021C03E6-1B72-4F11-48D9-E8F525A33C73}"/>
          </ac:spMkLst>
        </pc:spChg>
        <pc:picChg chg="del">
          <ac:chgData name="Votana Srey" userId="13bee0a8-d205-440d-95f7-48959fdcf002" providerId="ADAL" clId="{0D44528D-A8F9-4657-BEDD-69DBD6A2190B}" dt="2023-02-02T17:20:13.221" v="974" actId="478"/>
          <ac:picMkLst>
            <pc:docMk/>
            <pc:sldMk cId="4156277494" sldId="2147470133"/>
            <ac:picMk id="2" creationId="{1AA11E91-1F58-230D-B52B-BD98CBC684C2}"/>
          </ac:picMkLst>
        </pc:picChg>
        <pc:picChg chg="add mod">
          <ac:chgData name="Votana Srey" userId="13bee0a8-d205-440d-95f7-48959fdcf002" providerId="ADAL" clId="{0D44528D-A8F9-4657-BEDD-69DBD6A2190B}" dt="2023-02-02T17:54:16.890" v="1663" actId="1076"/>
          <ac:picMkLst>
            <pc:docMk/>
            <pc:sldMk cId="4156277494" sldId="2147470133"/>
            <ac:picMk id="20" creationId="{C2E287C0-9C17-A633-7762-5AAA37B8A3CF}"/>
          </ac:picMkLst>
        </pc:picChg>
        <pc:picChg chg="add del mod">
          <ac:chgData name="Votana Srey" userId="13bee0a8-d205-440d-95f7-48959fdcf002" providerId="ADAL" clId="{0D44528D-A8F9-4657-BEDD-69DBD6A2190B}" dt="2023-02-02T17:48:23.386" v="1366" actId="478"/>
          <ac:picMkLst>
            <pc:docMk/>
            <pc:sldMk cId="4156277494" sldId="2147470133"/>
            <ac:picMk id="25" creationId="{EF44F47D-C36D-93BA-DC23-A5DFB01D4FDA}"/>
          </ac:picMkLst>
        </pc:picChg>
        <pc:picChg chg="add mod">
          <ac:chgData name="Votana Srey" userId="13bee0a8-d205-440d-95f7-48959fdcf002" providerId="ADAL" clId="{0D44528D-A8F9-4657-BEDD-69DBD6A2190B}" dt="2023-02-02T17:48:33.291" v="1432" actId="1037"/>
          <ac:picMkLst>
            <pc:docMk/>
            <pc:sldMk cId="4156277494" sldId="2147470133"/>
            <ac:picMk id="27" creationId="{00ABE27D-082E-3EFA-316F-0DF7D0BE5687}"/>
          </ac:picMkLst>
        </pc:picChg>
        <pc:picChg chg="add mod">
          <ac:chgData name="Votana Srey" userId="13bee0a8-d205-440d-95f7-48959fdcf002" providerId="ADAL" clId="{0D44528D-A8F9-4657-BEDD-69DBD6A2190B}" dt="2023-02-02T17:54:23.959" v="1665" actId="1076"/>
          <ac:picMkLst>
            <pc:docMk/>
            <pc:sldMk cId="4156277494" sldId="2147470133"/>
            <ac:picMk id="29" creationId="{C9F31FDD-045C-4C57-9C84-D9D27A286CDE}"/>
          </ac:picMkLst>
        </pc:picChg>
        <pc:picChg chg="add mod">
          <ac:chgData name="Votana Srey" userId="13bee0a8-d205-440d-95f7-48959fdcf002" providerId="ADAL" clId="{0D44528D-A8F9-4657-BEDD-69DBD6A2190B}" dt="2023-02-02T17:53:26.610" v="1619" actId="1076"/>
          <ac:picMkLst>
            <pc:docMk/>
            <pc:sldMk cId="4156277494" sldId="2147470133"/>
            <ac:picMk id="8194" creationId="{213FAA6A-27C7-59A0-28AE-B2742FAF7D24}"/>
          </ac:picMkLst>
        </pc:picChg>
      </pc:sldChg>
      <pc:sldChg chg="addSp delSp modSp add del mod modClrScheme chgLayout">
        <pc:chgData name="Votana Srey" userId="13bee0a8-d205-440d-95f7-48959fdcf002" providerId="ADAL" clId="{0D44528D-A8F9-4657-BEDD-69DBD6A2190B}" dt="2023-02-03T02:13:32.995" v="2585" actId="47"/>
        <pc:sldMkLst>
          <pc:docMk/>
          <pc:sldMk cId="1089263418" sldId="2147470134"/>
        </pc:sldMkLst>
        <pc:spChg chg="add mod">
          <ac:chgData name="Votana Srey" userId="13bee0a8-d205-440d-95f7-48959fdcf002" providerId="ADAL" clId="{0D44528D-A8F9-4657-BEDD-69DBD6A2190B}" dt="2023-02-02T18:05:44.520" v="1957" actId="20577"/>
          <ac:spMkLst>
            <pc:docMk/>
            <pc:sldMk cId="1089263418" sldId="2147470134"/>
            <ac:spMk id="3" creationId="{0BBB6212-FEDB-26FF-1FBE-7EC9AA2E869C}"/>
          </ac:spMkLst>
        </pc:spChg>
        <pc:spChg chg="add mod">
          <ac:chgData name="Votana Srey" userId="13bee0a8-d205-440d-95f7-48959fdcf002" providerId="ADAL" clId="{0D44528D-A8F9-4657-BEDD-69DBD6A2190B}" dt="2023-02-02T18:07:08.562" v="1992" actId="1036"/>
          <ac:spMkLst>
            <pc:docMk/>
            <pc:sldMk cId="1089263418" sldId="2147470134"/>
            <ac:spMk id="6" creationId="{7D9143D1-B59F-2767-5C5A-38D08ECB1CB4}"/>
          </ac:spMkLst>
        </pc:spChg>
        <pc:graphicFrameChg chg="add del mod modGraphic">
          <ac:chgData name="Votana Srey" userId="13bee0a8-d205-440d-95f7-48959fdcf002" providerId="ADAL" clId="{0D44528D-A8F9-4657-BEDD-69DBD6A2190B}" dt="2023-02-03T02:09:43.265" v="2535"/>
          <ac:graphicFrameMkLst>
            <pc:docMk/>
            <pc:sldMk cId="1089263418" sldId="2147470134"/>
            <ac:graphicFrameMk id="7" creationId="{BCD07741-F779-52AC-4268-1C6EAA9C0A32}"/>
          </ac:graphicFrameMkLst>
        </pc:graphicFrameChg>
        <pc:picChg chg="mod">
          <ac:chgData name="Votana Srey" userId="13bee0a8-d205-440d-95f7-48959fdcf002" providerId="ADAL" clId="{0D44528D-A8F9-4657-BEDD-69DBD6A2190B}" dt="2023-02-02T18:10:40.834" v="2111" actId="1076"/>
          <ac:picMkLst>
            <pc:docMk/>
            <pc:sldMk cId="1089263418" sldId="2147470134"/>
            <ac:picMk id="2" creationId="{1AA11E91-1F58-230D-B52B-BD98CBC684C2}"/>
          </ac:picMkLst>
        </pc:picChg>
        <pc:picChg chg="add del mod">
          <ac:chgData name="Votana Srey" userId="13bee0a8-d205-440d-95f7-48959fdcf002" providerId="ADAL" clId="{0D44528D-A8F9-4657-BEDD-69DBD6A2190B}" dt="2023-02-03T02:09:47.889" v="2537" actId="14100"/>
          <ac:picMkLst>
            <pc:docMk/>
            <pc:sldMk cId="1089263418" sldId="2147470134"/>
            <ac:picMk id="5" creationId="{8206B95A-0F7C-363F-271E-4B1FE9678087}"/>
          </ac:picMkLst>
        </pc:picChg>
      </pc:sldChg>
      <pc:sldChg chg="add del">
        <pc:chgData name="Votana Srey" userId="13bee0a8-d205-440d-95f7-48959fdcf002" providerId="ADAL" clId="{0D44528D-A8F9-4657-BEDD-69DBD6A2190B}" dt="2023-02-02T18:07:22.507" v="1993" actId="47"/>
        <pc:sldMkLst>
          <pc:docMk/>
          <pc:sldMk cId="3542610172" sldId="2147470135"/>
        </pc:sldMkLst>
      </pc:sldChg>
      <pc:sldChg chg="add del">
        <pc:chgData name="Votana Srey" userId="13bee0a8-d205-440d-95f7-48959fdcf002" providerId="ADAL" clId="{0D44528D-A8F9-4657-BEDD-69DBD6A2190B}" dt="2023-02-02T18:07:22.694" v="1994" actId="47"/>
        <pc:sldMkLst>
          <pc:docMk/>
          <pc:sldMk cId="2621008377" sldId="2147470136"/>
        </pc:sldMkLst>
      </pc:sldChg>
      <pc:sldChg chg="addSp delSp modSp add del mod chgLayout">
        <pc:chgData name="Votana Srey" userId="13bee0a8-d205-440d-95f7-48959fdcf002" providerId="ADAL" clId="{0D44528D-A8F9-4657-BEDD-69DBD6A2190B}" dt="2023-02-02T17:19:58.221" v="972"/>
        <pc:sldMkLst>
          <pc:docMk/>
          <pc:sldMk cId="178893437" sldId="2147470137"/>
        </pc:sldMkLst>
        <pc:spChg chg="mod">
          <ac:chgData name="Votana Srey" userId="13bee0a8-d205-440d-95f7-48959fdcf002" providerId="ADAL" clId="{0D44528D-A8F9-4657-BEDD-69DBD6A2190B}" dt="2023-02-02T17:19:57.143" v="971" actId="20577"/>
          <ac:spMkLst>
            <pc:docMk/>
            <pc:sldMk cId="178893437" sldId="2147470137"/>
            <ac:spMk id="3" creationId="{8EB9F8E2-FCD7-9871-1428-25A84BE9AC58}"/>
          </ac:spMkLst>
        </pc:spChg>
        <pc:spChg chg="add del mod ord">
          <ac:chgData name="Votana Srey" userId="13bee0a8-d205-440d-95f7-48959fdcf002" providerId="ADAL" clId="{0D44528D-A8F9-4657-BEDD-69DBD6A2190B}" dt="2023-02-02T17:19:56.371" v="970" actId="700"/>
          <ac:spMkLst>
            <pc:docMk/>
            <pc:sldMk cId="178893437" sldId="2147470137"/>
            <ac:spMk id="4" creationId="{1D902E0C-CF81-2538-BAC6-E3664650C98C}"/>
          </ac:spMkLst>
        </pc:spChg>
        <pc:spChg chg="add del mod ord">
          <ac:chgData name="Votana Srey" userId="13bee0a8-d205-440d-95f7-48959fdcf002" providerId="ADAL" clId="{0D44528D-A8F9-4657-BEDD-69DBD6A2190B}" dt="2023-02-02T17:19:56.371" v="970" actId="700"/>
          <ac:spMkLst>
            <pc:docMk/>
            <pc:sldMk cId="178893437" sldId="2147470137"/>
            <ac:spMk id="5" creationId="{AE1F586E-DA08-71CB-04C5-F151125599A2}"/>
          </ac:spMkLst>
        </pc:spChg>
        <pc:spChg chg="add del mod ord">
          <ac:chgData name="Votana Srey" userId="13bee0a8-d205-440d-95f7-48959fdcf002" providerId="ADAL" clId="{0D44528D-A8F9-4657-BEDD-69DBD6A2190B}" dt="2023-02-02T17:19:56.371" v="970" actId="700"/>
          <ac:spMkLst>
            <pc:docMk/>
            <pc:sldMk cId="178893437" sldId="2147470137"/>
            <ac:spMk id="6" creationId="{F1BB252C-AA66-F3D0-0895-9DC33C0A83DA}"/>
          </ac:spMkLst>
        </pc:spChg>
        <pc:spChg chg="add del mod ord">
          <ac:chgData name="Votana Srey" userId="13bee0a8-d205-440d-95f7-48959fdcf002" providerId="ADAL" clId="{0D44528D-A8F9-4657-BEDD-69DBD6A2190B}" dt="2023-02-02T17:19:56.371" v="970" actId="700"/>
          <ac:spMkLst>
            <pc:docMk/>
            <pc:sldMk cId="178893437" sldId="2147470137"/>
            <ac:spMk id="7" creationId="{7DB107DA-C1CB-0EA6-FA5D-F27A522D9CDF}"/>
          </ac:spMkLst>
        </pc:spChg>
        <pc:spChg chg="add del mod ord">
          <ac:chgData name="Votana Srey" userId="13bee0a8-d205-440d-95f7-48959fdcf002" providerId="ADAL" clId="{0D44528D-A8F9-4657-BEDD-69DBD6A2190B}" dt="2023-02-02T17:19:56.371" v="970" actId="700"/>
          <ac:spMkLst>
            <pc:docMk/>
            <pc:sldMk cId="178893437" sldId="2147470137"/>
            <ac:spMk id="8" creationId="{890AC984-2CDD-F29F-1E18-616FBA706FC3}"/>
          </ac:spMkLst>
        </pc:spChg>
        <pc:spChg chg="add del mod ord">
          <ac:chgData name="Votana Srey" userId="13bee0a8-d205-440d-95f7-48959fdcf002" providerId="ADAL" clId="{0D44528D-A8F9-4657-BEDD-69DBD6A2190B}" dt="2023-02-02T17:19:56.371" v="970" actId="700"/>
          <ac:spMkLst>
            <pc:docMk/>
            <pc:sldMk cId="178893437" sldId="2147470137"/>
            <ac:spMk id="10" creationId="{56726C67-B92C-46D9-F5F4-7BF6D3D6853F}"/>
          </ac:spMkLst>
        </pc:spChg>
        <pc:spChg chg="add del mod ord">
          <ac:chgData name="Votana Srey" userId="13bee0a8-d205-440d-95f7-48959fdcf002" providerId="ADAL" clId="{0D44528D-A8F9-4657-BEDD-69DBD6A2190B}" dt="2023-02-02T17:19:56.371" v="970" actId="700"/>
          <ac:spMkLst>
            <pc:docMk/>
            <pc:sldMk cId="178893437" sldId="2147470137"/>
            <ac:spMk id="11" creationId="{22730D84-F37E-BD6E-C29D-BE9C0755F41D}"/>
          </ac:spMkLst>
        </pc:spChg>
        <pc:spChg chg="add del mod ord">
          <ac:chgData name="Votana Srey" userId="13bee0a8-d205-440d-95f7-48959fdcf002" providerId="ADAL" clId="{0D44528D-A8F9-4657-BEDD-69DBD6A2190B}" dt="2023-02-02T17:19:56.371" v="970" actId="700"/>
          <ac:spMkLst>
            <pc:docMk/>
            <pc:sldMk cId="178893437" sldId="2147470137"/>
            <ac:spMk id="12" creationId="{3884D04B-04EE-3BC2-A587-F1B57E9BC2DC}"/>
          </ac:spMkLst>
        </pc:spChg>
      </pc:sldChg>
      <pc:sldChg chg="modSp add mod">
        <pc:chgData name="Votana Srey" userId="13bee0a8-d205-440d-95f7-48959fdcf002" providerId="ADAL" clId="{0D44528D-A8F9-4657-BEDD-69DBD6A2190B}" dt="2023-02-02T17:24:07.549" v="1090" actId="255"/>
        <pc:sldMkLst>
          <pc:docMk/>
          <pc:sldMk cId="2567581689" sldId="2147470137"/>
        </pc:sldMkLst>
        <pc:spChg chg="mod">
          <ac:chgData name="Votana Srey" userId="13bee0a8-d205-440d-95f7-48959fdcf002" providerId="ADAL" clId="{0D44528D-A8F9-4657-BEDD-69DBD6A2190B}" dt="2023-02-02T17:21:47.162" v="1004" actId="20577"/>
          <ac:spMkLst>
            <pc:docMk/>
            <pc:sldMk cId="2567581689" sldId="2147470137"/>
            <ac:spMk id="3" creationId="{8EB9F8E2-FCD7-9871-1428-25A84BE9AC58}"/>
          </ac:spMkLst>
        </pc:spChg>
        <pc:spChg chg="mod">
          <ac:chgData name="Votana Srey" userId="13bee0a8-d205-440d-95f7-48959fdcf002" providerId="ADAL" clId="{0D44528D-A8F9-4657-BEDD-69DBD6A2190B}" dt="2023-02-02T17:24:07.549" v="1090" actId="255"/>
          <ac:spMkLst>
            <pc:docMk/>
            <pc:sldMk cId="2567581689" sldId="2147470137"/>
            <ac:spMk id="9" creationId="{986D915E-055C-A50F-6EE2-5DB0D770D48A}"/>
          </ac:spMkLst>
        </pc:spChg>
      </pc:sldChg>
      <pc:sldChg chg="addSp delSp modSp add mod">
        <pc:chgData name="Votana Srey" userId="13bee0a8-d205-440d-95f7-48959fdcf002" providerId="ADAL" clId="{0D44528D-A8F9-4657-BEDD-69DBD6A2190B}" dt="2023-02-02T17:36:54.967" v="1133" actId="22"/>
        <pc:sldMkLst>
          <pc:docMk/>
          <pc:sldMk cId="2050275579" sldId="2147470138"/>
        </pc:sldMkLst>
        <pc:graphicFrameChg chg="add del modGraphic">
          <ac:chgData name="Votana Srey" userId="13bee0a8-d205-440d-95f7-48959fdcf002" providerId="ADAL" clId="{0D44528D-A8F9-4657-BEDD-69DBD6A2190B}" dt="2023-02-02T17:36:28.827" v="1131" actId="478"/>
          <ac:graphicFrameMkLst>
            <pc:docMk/>
            <pc:sldMk cId="2050275579" sldId="2147470138"/>
            <ac:graphicFrameMk id="4" creationId="{A9499F72-51C9-0D35-70AC-438F869E86AD}"/>
          </ac:graphicFrameMkLst>
        </pc:graphicFrameChg>
        <pc:picChg chg="add">
          <ac:chgData name="Votana Srey" userId="13bee0a8-d205-440d-95f7-48959fdcf002" providerId="ADAL" clId="{0D44528D-A8F9-4657-BEDD-69DBD6A2190B}" dt="2023-02-02T17:36:54.967" v="1133" actId="22"/>
          <ac:picMkLst>
            <pc:docMk/>
            <pc:sldMk cId="2050275579" sldId="2147470138"/>
            <ac:picMk id="6" creationId="{639B95B2-3F16-3C2E-ABB6-59A391584417}"/>
          </ac:picMkLst>
        </pc:picChg>
        <pc:picChg chg="del">
          <ac:chgData name="Votana Srey" userId="13bee0a8-d205-440d-95f7-48959fdcf002" providerId="ADAL" clId="{0D44528D-A8F9-4657-BEDD-69DBD6A2190B}" dt="2023-02-02T17:36:30.020" v="1132" actId="478"/>
          <ac:picMkLst>
            <pc:docMk/>
            <pc:sldMk cId="2050275579" sldId="2147470138"/>
            <ac:picMk id="8" creationId="{8B124F51-E14E-DC8D-8100-E1E9FA48C86B}"/>
          </ac:picMkLst>
        </pc:picChg>
      </pc:sldChg>
      <pc:sldChg chg="add del">
        <pc:chgData name="Votana Srey" userId="13bee0a8-d205-440d-95f7-48959fdcf002" providerId="ADAL" clId="{0D44528D-A8F9-4657-BEDD-69DBD6A2190B}" dt="2023-02-02T18:07:41.840" v="2007" actId="47"/>
        <pc:sldMkLst>
          <pc:docMk/>
          <pc:sldMk cId="1354866925" sldId="2147470139"/>
        </pc:sldMkLst>
      </pc:sldChg>
      <pc:sldChg chg="delSp add del mod">
        <pc:chgData name="Votana Srey" userId="13bee0a8-d205-440d-95f7-48959fdcf002" providerId="ADAL" clId="{0D44528D-A8F9-4657-BEDD-69DBD6A2190B}" dt="2023-02-02T17:39:32.708" v="1138" actId="47"/>
        <pc:sldMkLst>
          <pc:docMk/>
          <pc:sldMk cId="1931692224" sldId="2147470139"/>
        </pc:sldMkLst>
        <pc:picChg chg="del">
          <ac:chgData name="Votana Srey" userId="13bee0a8-d205-440d-95f7-48959fdcf002" providerId="ADAL" clId="{0D44528D-A8F9-4657-BEDD-69DBD6A2190B}" dt="2023-02-02T17:39:10.329" v="1136" actId="478"/>
          <ac:picMkLst>
            <pc:docMk/>
            <pc:sldMk cId="1931692224" sldId="2147470139"/>
            <ac:picMk id="6" creationId="{639B95B2-3F16-3C2E-ABB6-59A391584417}"/>
          </ac:picMkLst>
        </pc:picChg>
      </pc:sldChg>
      <pc:sldChg chg="add del">
        <pc:chgData name="Votana Srey" userId="13bee0a8-d205-440d-95f7-48959fdcf002" providerId="ADAL" clId="{0D44528D-A8F9-4657-BEDD-69DBD6A2190B}" dt="2023-02-02T18:07:40.885" v="2006" actId="47"/>
        <pc:sldMkLst>
          <pc:docMk/>
          <pc:sldMk cId="1070707439" sldId="2147470140"/>
        </pc:sldMkLst>
      </pc:sldChg>
      <pc:sldChg chg="addSp delSp modSp add mod">
        <pc:chgData name="Votana Srey" userId="13bee0a8-d205-440d-95f7-48959fdcf002" providerId="ADAL" clId="{0D44528D-A8F9-4657-BEDD-69DBD6A2190B}" dt="2023-02-02T18:08:49.459" v="2042" actId="255"/>
        <pc:sldMkLst>
          <pc:docMk/>
          <pc:sldMk cId="3238348999" sldId="2147470141"/>
        </pc:sldMkLst>
        <pc:spChg chg="add del mod">
          <ac:chgData name="Votana Srey" userId="13bee0a8-d205-440d-95f7-48959fdcf002" providerId="ADAL" clId="{0D44528D-A8F9-4657-BEDD-69DBD6A2190B}" dt="2023-02-02T17:52:23.256" v="1614" actId="478"/>
          <ac:spMkLst>
            <pc:docMk/>
            <pc:sldMk cId="3238348999" sldId="2147470141"/>
            <ac:spMk id="3" creationId="{65F2347B-46C0-124C-E37C-5E641239E3C5}"/>
          </ac:spMkLst>
        </pc:spChg>
        <pc:spChg chg="add del mod">
          <ac:chgData name="Votana Srey" userId="13bee0a8-d205-440d-95f7-48959fdcf002" providerId="ADAL" clId="{0D44528D-A8F9-4657-BEDD-69DBD6A2190B}" dt="2023-02-02T17:52:25.255" v="1615" actId="478"/>
          <ac:spMkLst>
            <pc:docMk/>
            <pc:sldMk cId="3238348999" sldId="2147470141"/>
            <ac:spMk id="5" creationId="{E4A6A35B-4077-3B51-41C7-B2417415511C}"/>
          </ac:spMkLst>
        </pc:spChg>
        <pc:spChg chg="add mod">
          <ac:chgData name="Votana Srey" userId="13bee0a8-d205-440d-95f7-48959fdcf002" providerId="ADAL" clId="{0D44528D-A8F9-4657-BEDD-69DBD6A2190B}" dt="2023-02-02T18:08:30.439" v="2039" actId="255"/>
          <ac:spMkLst>
            <pc:docMk/>
            <pc:sldMk cId="3238348999" sldId="2147470141"/>
            <ac:spMk id="6" creationId="{1398CE7E-EB3D-301B-24B0-1C05716B952E}"/>
          </ac:spMkLst>
        </pc:spChg>
        <pc:spChg chg="add mod">
          <ac:chgData name="Votana Srey" userId="13bee0a8-d205-440d-95f7-48959fdcf002" providerId="ADAL" clId="{0D44528D-A8F9-4657-BEDD-69DBD6A2190B}" dt="2023-02-02T18:08:36.022" v="2040" actId="255"/>
          <ac:spMkLst>
            <pc:docMk/>
            <pc:sldMk cId="3238348999" sldId="2147470141"/>
            <ac:spMk id="7" creationId="{21FC4BF8-79D3-71C8-25B1-7B87EC978807}"/>
          </ac:spMkLst>
        </pc:spChg>
        <pc:spChg chg="add mod">
          <ac:chgData name="Votana Srey" userId="13bee0a8-d205-440d-95f7-48959fdcf002" providerId="ADAL" clId="{0D44528D-A8F9-4657-BEDD-69DBD6A2190B}" dt="2023-02-02T18:08:43.505" v="2041" actId="255"/>
          <ac:spMkLst>
            <pc:docMk/>
            <pc:sldMk cId="3238348999" sldId="2147470141"/>
            <ac:spMk id="8" creationId="{DB71C851-B854-D581-541A-E6B490509DE1}"/>
          </ac:spMkLst>
        </pc:spChg>
        <pc:spChg chg="add mod">
          <ac:chgData name="Votana Srey" userId="13bee0a8-d205-440d-95f7-48959fdcf002" providerId="ADAL" clId="{0D44528D-A8F9-4657-BEDD-69DBD6A2190B}" dt="2023-02-02T18:08:49.459" v="2042" actId="255"/>
          <ac:spMkLst>
            <pc:docMk/>
            <pc:sldMk cId="3238348999" sldId="2147470141"/>
            <ac:spMk id="9" creationId="{39B662FB-B3DB-5EA1-8567-45C08466AD99}"/>
          </ac:spMkLst>
        </pc:spChg>
        <pc:spChg chg="add mod">
          <ac:chgData name="Votana Srey" userId="13bee0a8-d205-440d-95f7-48959fdcf002" providerId="ADAL" clId="{0D44528D-A8F9-4657-BEDD-69DBD6A2190B}" dt="2023-02-02T17:58:00.775" v="1690" actId="14100"/>
          <ac:spMkLst>
            <pc:docMk/>
            <pc:sldMk cId="3238348999" sldId="2147470141"/>
            <ac:spMk id="10" creationId="{16771129-442F-9D98-546B-9B44ECFE0DE5}"/>
          </ac:spMkLst>
        </pc:spChg>
        <pc:spChg chg="mod">
          <ac:chgData name="Votana Srey" userId="13bee0a8-d205-440d-95f7-48959fdcf002" providerId="ADAL" clId="{0D44528D-A8F9-4657-BEDD-69DBD6A2190B}" dt="2023-02-02T17:51:51.042" v="1527" actId="20577"/>
          <ac:spMkLst>
            <pc:docMk/>
            <pc:sldMk cId="3238348999" sldId="2147470141"/>
            <ac:spMk id="11" creationId="{DDD5BFE8-3778-D814-9005-F92647F6A38C}"/>
          </ac:spMkLst>
        </pc:spChg>
        <pc:spChg chg="add del mod">
          <ac:chgData name="Votana Srey" userId="13bee0a8-d205-440d-95f7-48959fdcf002" providerId="ADAL" clId="{0D44528D-A8F9-4657-BEDD-69DBD6A2190B}" dt="2023-02-02T17:58:12.853" v="1693" actId="478"/>
          <ac:spMkLst>
            <pc:docMk/>
            <pc:sldMk cId="3238348999" sldId="2147470141"/>
            <ac:spMk id="12" creationId="{86F21AC6-6880-B9CF-FC32-C7E0F682EBD8}"/>
          </ac:spMkLst>
        </pc:spChg>
        <pc:spChg chg="mod">
          <ac:chgData name="Votana Srey" userId="13bee0a8-d205-440d-95f7-48959fdcf002" providerId="ADAL" clId="{0D44528D-A8F9-4657-BEDD-69DBD6A2190B}" dt="2023-02-02T17:52:14.680" v="1612" actId="20577"/>
          <ac:spMkLst>
            <pc:docMk/>
            <pc:sldMk cId="3238348999" sldId="2147470141"/>
            <ac:spMk id="13" creationId="{F6763D6D-0720-BC62-D344-87AE915D47CA}"/>
          </ac:spMkLst>
        </pc:spChg>
        <pc:spChg chg="add del mod">
          <ac:chgData name="Votana Srey" userId="13bee0a8-d205-440d-95f7-48959fdcf002" providerId="ADAL" clId="{0D44528D-A8F9-4657-BEDD-69DBD6A2190B}" dt="2023-02-02T17:58:54.289" v="1701" actId="478"/>
          <ac:spMkLst>
            <pc:docMk/>
            <pc:sldMk cId="3238348999" sldId="2147470141"/>
            <ac:spMk id="14" creationId="{802A31C7-A841-996E-A822-EA3B3A32B149}"/>
          </ac:spMkLst>
        </pc:spChg>
        <pc:spChg chg="del">
          <ac:chgData name="Votana Srey" userId="13bee0a8-d205-440d-95f7-48959fdcf002" providerId="ADAL" clId="{0D44528D-A8F9-4657-BEDD-69DBD6A2190B}" dt="2023-02-02T17:52:20.280" v="1613" actId="478"/>
          <ac:spMkLst>
            <pc:docMk/>
            <pc:sldMk cId="3238348999" sldId="2147470141"/>
            <ac:spMk id="15" creationId="{92F587AD-A3EE-D917-53B7-17C8A5BDD5BF}"/>
          </ac:spMkLst>
        </pc:spChg>
        <pc:spChg chg="add mod">
          <ac:chgData name="Votana Srey" userId="13bee0a8-d205-440d-95f7-48959fdcf002" providerId="ADAL" clId="{0D44528D-A8F9-4657-BEDD-69DBD6A2190B}" dt="2023-02-02T17:59:56.755" v="1740" actId="20577"/>
          <ac:spMkLst>
            <pc:docMk/>
            <pc:sldMk cId="3238348999" sldId="2147470141"/>
            <ac:spMk id="16" creationId="{F5860FF2-12E6-018B-86C9-C89E30283220}"/>
          </ac:spMkLst>
        </pc:spChg>
        <pc:spChg chg="del">
          <ac:chgData name="Votana Srey" userId="13bee0a8-d205-440d-95f7-48959fdcf002" providerId="ADAL" clId="{0D44528D-A8F9-4657-BEDD-69DBD6A2190B}" dt="2023-02-02T17:52:20.280" v="1613" actId="478"/>
          <ac:spMkLst>
            <pc:docMk/>
            <pc:sldMk cId="3238348999" sldId="2147470141"/>
            <ac:spMk id="17" creationId="{87573F92-9524-3F57-CDBA-C653E60852AB}"/>
          </ac:spMkLst>
        </pc:spChg>
        <pc:spChg chg="add mod">
          <ac:chgData name="Votana Srey" userId="13bee0a8-d205-440d-95f7-48959fdcf002" providerId="ADAL" clId="{0D44528D-A8F9-4657-BEDD-69DBD6A2190B}" dt="2023-02-02T17:58:40.629" v="1697" actId="1076"/>
          <ac:spMkLst>
            <pc:docMk/>
            <pc:sldMk cId="3238348999" sldId="2147470141"/>
            <ac:spMk id="18" creationId="{F3A69B58-BAC1-47DB-1E83-799EAA15D2AF}"/>
          </ac:spMkLst>
        </pc:spChg>
        <pc:spChg chg="add mod">
          <ac:chgData name="Votana Srey" userId="13bee0a8-d205-440d-95f7-48959fdcf002" providerId="ADAL" clId="{0D44528D-A8F9-4657-BEDD-69DBD6A2190B}" dt="2023-02-02T17:58:30.946" v="1695" actId="1076"/>
          <ac:spMkLst>
            <pc:docMk/>
            <pc:sldMk cId="3238348999" sldId="2147470141"/>
            <ac:spMk id="19" creationId="{1EC0BF99-92C9-2DFC-9F76-05484E2C25B4}"/>
          </ac:spMkLst>
        </pc:spChg>
        <pc:spChg chg="del">
          <ac:chgData name="Votana Srey" userId="13bee0a8-d205-440d-95f7-48959fdcf002" providerId="ADAL" clId="{0D44528D-A8F9-4657-BEDD-69DBD6A2190B}" dt="2023-02-02T17:52:20.280" v="1613" actId="478"/>
          <ac:spMkLst>
            <pc:docMk/>
            <pc:sldMk cId="3238348999" sldId="2147470141"/>
            <ac:spMk id="21" creationId="{E0064FD7-EFE6-C6D5-7CFB-B42CB9518282}"/>
          </ac:spMkLst>
        </pc:spChg>
        <pc:spChg chg="del">
          <ac:chgData name="Votana Srey" userId="13bee0a8-d205-440d-95f7-48959fdcf002" providerId="ADAL" clId="{0D44528D-A8F9-4657-BEDD-69DBD6A2190B}" dt="2023-02-02T17:52:20.280" v="1613" actId="478"/>
          <ac:spMkLst>
            <pc:docMk/>
            <pc:sldMk cId="3238348999" sldId="2147470141"/>
            <ac:spMk id="22" creationId="{4AFF26B3-8221-45AE-D0D3-2981F0010D3A}"/>
          </ac:spMkLst>
        </pc:spChg>
        <pc:spChg chg="del">
          <ac:chgData name="Votana Srey" userId="13bee0a8-d205-440d-95f7-48959fdcf002" providerId="ADAL" clId="{0D44528D-A8F9-4657-BEDD-69DBD6A2190B}" dt="2023-02-02T17:52:20.280" v="1613" actId="478"/>
          <ac:spMkLst>
            <pc:docMk/>
            <pc:sldMk cId="3238348999" sldId="2147470141"/>
            <ac:spMk id="23" creationId="{8BF27654-9ADF-1F7E-E4A9-76331A9F5C5B}"/>
          </ac:spMkLst>
        </pc:spChg>
        <pc:spChg chg="add mod">
          <ac:chgData name="Votana Srey" userId="13bee0a8-d205-440d-95f7-48959fdcf002" providerId="ADAL" clId="{0D44528D-A8F9-4657-BEDD-69DBD6A2190B}" dt="2023-02-02T17:59:22.957" v="1724" actId="1037"/>
          <ac:spMkLst>
            <pc:docMk/>
            <pc:sldMk cId="3238348999" sldId="2147470141"/>
            <ac:spMk id="24" creationId="{707922F5-E9DC-80AA-11E7-871F9A6275D6}"/>
          </ac:spMkLst>
        </pc:spChg>
        <pc:spChg chg="add del mod">
          <ac:chgData name="Votana Srey" userId="13bee0a8-d205-440d-95f7-48959fdcf002" providerId="ADAL" clId="{0D44528D-A8F9-4657-BEDD-69DBD6A2190B}" dt="2023-02-02T18:00:32.782" v="1744" actId="478"/>
          <ac:spMkLst>
            <pc:docMk/>
            <pc:sldMk cId="3238348999" sldId="2147470141"/>
            <ac:spMk id="25" creationId="{96BE1ADB-1B70-1C46-9F45-C10905D04538}"/>
          </ac:spMkLst>
        </pc:spChg>
        <pc:spChg chg="del">
          <ac:chgData name="Votana Srey" userId="13bee0a8-d205-440d-95f7-48959fdcf002" providerId="ADAL" clId="{0D44528D-A8F9-4657-BEDD-69DBD6A2190B}" dt="2023-02-02T17:52:20.280" v="1613" actId="478"/>
          <ac:spMkLst>
            <pc:docMk/>
            <pc:sldMk cId="3238348999" sldId="2147470141"/>
            <ac:spMk id="34" creationId="{4678DD2C-27D2-03AA-EDCF-02C5740F1239}"/>
          </ac:spMkLst>
        </pc:spChg>
        <pc:spChg chg="del">
          <ac:chgData name="Votana Srey" userId="13bee0a8-d205-440d-95f7-48959fdcf002" providerId="ADAL" clId="{0D44528D-A8F9-4657-BEDD-69DBD6A2190B}" dt="2023-02-02T17:52:20.280" v="1613" actId="478"/>
          <ac:spMkLst>
            <pc:docMk/>
            <pc:sldMk cId="3238348999" sldId="2147470141"/>
            <ac:spMk id="36" creationId="{DB351719-2A63-84D4-2BBD-48DA6D8FB123}"/>
          </ac:spMkLst>
        </pc:spChg>
        <pc:spChg chg="del">
          <ac:chgData name="Votana Srey" userId="13bee0a8-d205-440d-95f7-48959fdcf002" providerId="ADAL" clId="{0D44528D-A8F9-4657-BEDD-69DBD6A2190B}" dt="2023-02-02T17:52:20.280" v="1613" actId="478"/>
          <ac:spMkLst>
            <pc:docMk/>
            <pc:sldMk cId="3238348999" sldId="2147470141"/>
            <ac:spMk id="37" creationId="{B4FB2C8D-1041-51AC-9197-8A1E6A46655E}"/>
          </ac:spMkLst>
        </pc:spChg>
        <pc:spChg chg="del">
          <ac:chgData name="Votana Srey" userId="13bee0a8-d205-440d-95f7-48959fdcf002" providerId="ADAL" clId="{0D44528D-A8F9-4657-BEDD-69DBD6A2190B}" dt="2023-02-02T17:52:20.280" v="1613" actId="478"/>
          <ac:spMkLst>
            <pc:docMk/>
            <pc:sldMk cId="3238348999" sldId="2147470141"/>
            <ac:spMk id="38" creationId="{822BF3C1-71E2-4508-E20B-711FF5BD3BD4}"/>
          </ac:spMkLst>
        </pc:spChg>
        <pc:picChg chg="del">
          <ac:chgData name="Votana Srey" userId="13bee0a8-d205-440d-95f7-48959fdcf002" providerId="ADAL" clId="{0D44528D-A8F9-4657-BEDD-69DBD6A2190B}" dt="2023-02-02T17:52:20.280" v="1613" actId="478"/>
          <ac:picMkLst>
            <pc:docMk/>
            <pc:sldMk cId="3238348999" sldId="2147470141"/>
            <ac:picMk id="20" creationId="{C2E287C0-9C17-A633-7762-5AAA37B8A3CF}"/>
          </ac:picMkLst>
        </pc:picChg>
        <pc:picChg chg="del">
          <ac:chgData name="Votana Srey" userId="13bee0a8-d205-440d-95f7-48959fdcf002" providerId="ADAL" clId="{0D44528D-A8F9-4657-BEDD-69DBD6A2190B}" dt="2023-02-02T17:52:20.280" v="1613" actId="478"/>
          <ac:picMkLst>
            <pc:docMk/>
            <pc:sldMk cId="3238348999" sldId="2147470141"/>
            <ac:picMk id="27" creationId="{00ABE27D-082E-3EFA-316F-0DF7D0BE5687}"/>
          </ac:picMkLst>
        </pc:picChg>
        <pc:picChg chg="del">
          <ac:chgData name="Votana Srey" userId="13bee0a8-d205-440d-95f7-48959fdcf002" providerId="ADAL" clId="{0D44528D-A8F9-4657-BEDD-69DBD6A2190B}" dt="2023-02-02T17:52:20.280" v="1613" actId="478"/>
          <ac:picMkLst>
            <pc:docMk/>
            <pc:sldMk cId="3238348999" sldId="2147470141"/>
            <ac:picMk id="29" creationId="{C9F31FDD-045C-4C57-9C84-D9D27A286CDE}"/>
          </ac:picMkLst>
        </pc:picChg>
      </pc:sldChg>
      <pc:sldChg chg="addSp delSp modSp add mod ord modClrScheme chgLayout">
        <pc:chgData name="Votana Srey" userId="13bee0a8-d205-440d-95f7-48959fdcf002" providerId="ADAL" clId="{0D44528D-A8F9-4657-BEDD-69DBD6A2190B}" dt="2023-02-17T17:34:15.615" v="4115"/>
        <pc:sldMkLst>
          <pc:docMk/>
          <pc:sldMk cId="2627524761" sldId="2147470142"/>
        </pc:sldMkLst>
        <pc:spChg chg="add del mod">
          <ac:chgData name="Votana Srey" userId="13bee0a8-d205-440d-95f7-48959fdcf002" providerId="ADAL" clId="{0D44528D-A8F9-4657-BEDD-69DBD6A2190B}" dt="2023-02-17T17:34:15.615" v="4115"/>
          <ac:spMkLst>
            <pc:docMk/>
            <pc:sldMk cId="2627524761" sldId="2147470142"/>
            <ac:spMk id="2" creationId="{B6D603B2-06C8-49C7-9915-8EA360BA8B17}"/>
          </ac:spMkLst>
        </pc:spChg>
        <pc:spChg chg="add del mod">
          <ac:chgData name="Votana Srey" userId="13bee0a8-d205-440d-95f7-48959fdcf002" providerId="ADAL" clId="{0D44528D-A8F9-4657-BEDD-69DBD6A2190B}" dt="2023-02-02T18:09:49.237" v="2099" actId="478"/>
          <ac:spMkLst>
            <pc:docMk/>
            <pc:sldMk cId="2627524761" sldId="2147470142"/>
            <ac:spMk id="3" creationId="{89FF8BC4-C1FB-BF98-0C4A-C35E9581C31C}"/>
          </ac:spMkLst>
        </pc:spChg>
        <pc:spChg chg="mod ord">
          <ac:chgData name="Votana Srey" userId="13bee0a8-d205-440d-95f7-48959fdcf002" providerId="ADAL" clId="{0D44528D-A8F9-4657-BEDD-69DBD6A2190B}" dt="2023-02-02T18:10:16.017" v="2108" actId="20577"/>
          <ac:spMkLst>
            <pc:docMk/>
            <pc:sldMk cId="2627524761" sldId="2147470142"/>
            <ac:spMk id="4" creationId="{00000000-0000-0000-0000-000000000000}"/>
          </ac:spMkLst>
        </pc:spChg>
        <pc:spChg chg="del mod ord">
          <ac:chgData name="Votana Srey" userId="13bee0a8-d205-440d-95f7-48959fdcf002" providerId="ADAL" clId="{0D44528D-A8F9-4657-BEDD-69DBD6A2190B}" dt="2023-02-02T18:09:47.172" v="2098" actId="478"/>
          <ac:spMkLst>
            <pc:docMk/>
            <pc:sldMk cId="2627524761" sldId="2147470142"/>
            <ac:spMk id="5" creationId="{00000000-0000-0000-0000-000000000000}"/>
          </ac:spMkLst>
        </pc:spChg>
        <pc:spChg chg="add del mod">
          <ac:chgData name="Votana Srey" userId="13bee0a8-d205-440d-95f7-48959fdcf002" providerId="ADAL" clId="{0D44528D-A8F9-4657-BEDD-69DBD6A2190B}" dt="2023-02-02T18:09:57.353" v="2101" actId="26606"/>
          <ac:spMkLst>
            <pc:docMk/>
            <pc:sldMk cId="2627524761" sldId="2147470142"/>
            <ac:spMk id="9" creationId="{F52A7ED1-7A9B-1BC6-F6A2-C170850AE751}"/>
          </ac:spMkLst>
        </pc:spChg>
        <pc:spChg chg="add del mod">
          <ac:chgData name="Votana Srey" userId="13bee0a8-d205-440d-95f7-48959fdcf002" providerId="ADAL" clId="{0D44528D-A8F9-4657-BEDD-69DBD6A2190B}" dt="2023-02-02T18:09:57.353" v="2101" actId="26606"/>
          <ac:spMkLst>
            <pc:docMk/>
            <pc:sldMk cId="2627524761" sldId="2147470142"/>
            <ac:spMk id="11" creationId="{F9E35189-765E-763D-9971-6860D8E90ADA}"/>
          </ac:spMkLst>
        </pc:spChg>
        <pc:spChg chg="add del mod">
          <ac:chgData name="Votana Srey" userId="13bee0a8-d205-440d-95f7-48959fdcf002" providerId="ADAL" clId="{0D44528D-A8F9-4657-BEDD-69DBD6A2190B}" dt="2023-02-02T18:10:02.319" v="2103" actId="26606"/>
          <ac:spMkLst>
            <pc:docMk/>
            <pc:sldMk cId="2627524761" sldId="2147470142"/>
            <ac:spMk id="13" creationId="{2E49CEB9-7312-DB96-9D39-865144286670}"/>
          </ac:spMkLst>
        </pc:spChg>
        <pc:spChg chg="add del mod">
          <ac:chgData name="Votana Srey" userId="13bee0a8-d205-440d-95f7-48959fdcf002" providerId="ADAL" clId="{0D44528D-A8F9-4657-BEDD-69DBD6A2190B}" dt="2023-02-02T18:10:06.357" v="2105" actId="26606"/>
          <ac:spMkLst>
            <pc:docMk/>
            <pc:sldMk cId="2627524761" sldId="2147470142"/>
            <ac:spMk id="15" creationId="{599E42A2-C65E-0D8E-A998-94F640BDAA28}"/>
          </ac:spMkLst>
        </pc:spChg>
        <pc:spChg chg="add del mod">
          <ac:chgData name="Votana Srey" userId="13bee0a8-d205-440d-95f7-48959fdcf002" providerId="ADAL" clId="{0D44528D-A8F9-4657-BEDD-69DBD6A2190B}" dt="2023-02-02T18:10:06.357" v="2105" actId="26606"/>
          <ac:spMkLst>
            <pc:docMk/>
            <pc:sldMk cId="2627524761" sldId="2147470142"/>
            <ac:spMk id="16" creationId="{2D1CDBCA-87B3-568D-0FBD-74CBAC5E72FA}"/>
          </ac:spMkLst>
        </pc:spChg>
        <pc:spChg chg="add del mod">
          <ac:chgData name="Votana Srey" userId="13bee0a8-d205-440d-95f7-48959fdcf002" providerId="ADAL" clId="{0D44528D-A8F9-4657-BEDD-69DBD6A2190B}" dt="2023-02-02T18:10:09.691" v="2107" actId="26606"/>
          <ac:spMkLst>
            <pc:docMk/>
            <pc:sldMk cId="2627524761" sldId="2147470142"/>
            <ac:spMk id="18" creationId="{786B1713-2595-709C-8BE1-067BCE162C02}"/>
          </ac:spMkLst>
        </pc:spChg>
        <pc:spChg chg="add del mod">
          <ac:chgData name="Votana Srey" userId="13bee0a8-d205-440d-95f7-48959fdcf002" providerId="ADAL" clId="{0D44528D-A8F9-4657-BEDD-69DBD6A2190B}" dt="2023-02-02T18:10:09.691" v="2107" actId="26606"/>
          <ac:spMkLst>
            <pc:docMk/>
            <pc:sldMk cId="2627524761" sldId="2147470142"/>
            <ac:spMk id="19" creationId="{4DB8FB38-BDB3-ECC2-3144-33F1237DA177}"/>
          </ac:spMkLst>
        </pc:spChg>
        <pc:spChg chg="add del mod">
          <ac:chgData name="Votana Srey" userId="13bee0a8-d205-440d-95f7-48959fdcf002" providerId="ADAL" clId="{0D44528D-A8F9-4657-BEDD-69DBD6A2190B}" dt="2023-02-02T18:10:09.691" v="2107" actId="26606"/>
          <ac:spMkLst>
            <pc:docMk/>
            <pc:sldMk cId="2627524761" sldId="2147470142"/>
            <ac:spMk id="20" creationId="{E994DC28-EA90-E79A-D650-E220A7AA30F1}"/>
          </ac:spMkLst>
        </pc:spChg>
        <pc:picChg chg="add mod">
          <ac:chgData name="Votana Srey" userId="13bee0a8-d205-440d-95f7-48959fdcf002" providerId="ADAL" clId="{0D44528D-A8F9-4657-BEDD-69DBD6A2190B}" dt="2023-02-02T18:10:29.970" v="2109"/>
          <ac:picMkLst>
            <pc:docMk/>
            <pc:sldMk cId="2627524761" sldId="2147470142"/>
            <ac:picMk id="6" creationId="{06816A11-B553-7C7F-B5F0-CA96B1760D6E}"/>
          </ac:picMkLst>
        </pc:picChg>
      </pc:sldChg>
      <pc:sldChg chg="add">
        <pc:chgData name="Votana Srey" userId="13bee0a8-d205-440d-95f7-48959fdcf002" providerId="ADAL" clId="{0D44528D-A8F9-4657-BEDD-69DBD6A2190B}" dt="2023-02-02T18:11:04.640" v="2114"/>
        <pc:sldMkLst>
          <pc:docMk/>
          <pc:sldMk cId="3451065741" sldId="2147470143"/>
        </pc:sldMkLst>
      </pc:sldChg>
      <pc:sldChg chg="add del">
        <pc:chgData name="Votana Srey" userId="13bee0a8-d205-440d-95f7-48959fdcf002" providerId="ADAL" clId="{0D44528D-A8F9-4657-BEDD-69DBD6A2190B}" dt="2023-02-02T18:10:58.869" v="2113" actId="47"/>
        <pc:sldMkLst>
          <pc:docMk/>
          <pc:sldMk cId="3987894273" sldId="2147470143"/>
        </pc:sldMkLst>
      </pc:sldChg>
      <pc:sldChg chg="addSp delSp modSp add mod modClrScheme chgLayout">
        <pc:chgData name="Votana Srey" userId="13bee0a8-d205-440d-95f7-48959fdcf002" providerId="ADAL" clId="{0D44528D-A8F9-4657-BEDD-69DBD6A2190B}" dt="2023-02-03T08:13:17.259" v="2607" actId="20577"/>
        <pc:sldMkLst>
          <pc:docMk/>
          <pc:sldMk cId="4060749190" sldId="2147470144"/>
        </pc:sldMkLst>
        <pc:spChg chg="add mod">
          <ac:chgData name="Votana Srey" userId="13bee0a8-d205-440d-95f7-48959fdcf002" providerId="ADAL" clId="{0D44528D-A8F9-4657-BEDD-69DBD6A2190B}" dt="2023-02-03T02:07:15.648" v="2498" actId="208"/>
          <ac:spMkLst>
            <pc:docMk/>
            <pc:sldMk cId="4060749190" sldId="2147470144"/>
            <ac:spMk id="3" creationId="{335BEFDB-8651-31D5-2004-E9F7FC3537F2}"/>
          </ac:spMkLst>
        </pc:spChg>
        <pc:spChg chg="mod ord">
          <ac:chgData name="Votana Srey" userId="13bee0a8-d205-440d-95f7-48959fdcf002" providerId="ADAL" clId="{0D44528D-A8F9-4657-BEDD-69DBD6A2190B}" dt="2023-02-02T18:11:44.035" v="2170" actId="700"/>
          <ac:spMkLst>
            <pc:docMk/>
            <pc:sldMk cId="4060749190" sldId="2147470144"/>
            <ac:spMk id="4" creationId="{00000000-0000-0000-0000-000000000000}"/>
          </ac:spMkLst>
        </pc:spChg>
        <pc:spChg chg="add mod">
          <ac:chgData name="Votana Srey" userId="13bee0a8-d205-440d-95f7-48959fdcf002" providerId="ADAL" clId="{0D44528D-A8F9-4657-BEDD-69DBD6A2190B}" dt="2023-02-03T02:02:57.436" v="2403" actId="1036"/>
          <ac:spMkLst>
            <pc:docMk/>
            <pc:sldMk cId="4060749190" sldId="2147470144"/>
            <ac:spMk id="5" creationId="{1B07DDEB-E088-2C5A-291B-C5CF96FA350B}"/>
          </ac:spMkLst>
        </pc:spChg>
        <pc:spChg chg="add mod">
          <ac:chgData name="Votana Srey" userId="13bee0a8-d205-440d-95f7-48959fdcf002" providerId="ADAL" clId="{0D44528D-A8F9-4657-BEDD-69DBD6A2190B}" dt="2023-02-03T02:02:57.436" v="2403" actId="1036"/>
          <ac:spMkLst>
            <pc:docMk/>
            <pc:sldMk cId="4060749190" sldId="2147470144"/>
            <ac:spMk id="6" creationId="{0119922D-B0F4-E304-52E0-B6221824900F}"/>
          </ac:spMkLst>
        </pc:spChg>
        <pc:spChg chg="add mod">
          <ac:chgData name="Votana Srey" userId="13bee0a8-d205-440d-95f7-48959fdcf002" providerId="ADAL" clId="{0D44528D-A8F9-4657-BEDD-69DBD6A2190B}" dt="2023-02-03T02:02:57.436" v="2403" actId="1036"/>
          <ac:spMkLst>
            <pc:docMk/>
            <pc:sldMk cId="4060749190" sldId="2147470144"/>
            <ac:spMk id="7" creationId="{43DA35DA-353E-785D-7386-17AADC0C59A6}"/>
          </ac:spMkLst>
        </pc:spChg>
        <pc:spChg chg="add mod">
          <ac:chgData name="Votana Srey" userId="13bee0a8-d205-440d-95f7-48959fdcf002" providerId="ADAL" clId="{0D44528D-A8F9-4657-BEDD-69DBD6A2190B}" dt="2023-02-03T02:07:15.648" v="2498" actId="208"/>
          <ac:spMkLst>
            <pc:docMk/>
            <pc:sldMk cId="4060749190" sldId="2147470144"/>
            <ac:spMk id="8" creationId="{29644A81-3EFE-EE42-BC48-C5C36FD8F3D4}"/>
          </ac:spMkLst>
        </pc:spChg>
        <pc:spChg chg="add mod">
          <ac:chgData name="Votana Srey" userId="13bee0a8-d205-440d-95f7-48959fdcf002" providerId="ADAL" clId="{0D44528D-A8F9-4657-BEDD-69DBD6A2190B}" dt="2023-02-03T02:03:16.691" v="2430" actId="1036"/>
          <ac:spMkLst>
            <pc:docMk/>
            <pc:sldMk cId="4060749190" sldId="2147470144"/>
            <ac:spMk id="12" creationId="{99BD9447-DAB0-8EF1-FF5F-C12B04B01AEE}"/>
          </ac:spMkLst>
        </pc:spChg>
        <pc:spChg chg="add mod">
          <ac:chgData name="Votana Srey" userId="13bee0a8-d205-440d-95f7-48959fdcf002" providerId="ADAL" clId="{0D44528D-A8F9-4657-BEDD-69DBD6A2190B}" dt="2023-02-03T02:03:16.691" v="2430" actId="1036"/>
          <ac:spMkLst>
            <pc:docMk/>
            <pc:sldMk cId="4060749190" sldId="2147470144"/>
            <ac:spMk id="13" creationId="{27056B03-7DDF-3FA7-C36B-7100F0D54E54}"/>
          </ac:spMkLst>
        </pc:spChg>
        <pc:spChg chg="add mod">
          <ac:chgData name="Votana Srey" userId="13bee0a8-d205-440d-95f7-48959fdcf002" providerId="ADAL" clId="{0D44528D-A8F9-4657-BEDD-69DBD6A2190B}" dt="2023-02-03T02:03:16.691" v="2430" actId="1036"/>
          <ac:spMkLst>
            <pc:docMk/>
            <pc:sldMk cId="4060749190" sldId="2147470144"/>
            <ac:spMk id="14" creationId="{23C41876-9080-7E76-6258-2D228739667B}"/>
          </ac:spMkLst>
        </pc:spChg>
        <pc:spChg chg="add mod">
          <ac:chgData name="Votana Srey" userId="13bee0a8-d205-440d-95f7-48959fdcf002" providerId="ADAL" clId="{0D44528D-A8F9-4657-BEDD-69DBD6A2190B}" dt="2023-02-03T02:03:16.691" v="2430" actId="1036"/>
          <ac:spMkLst>
            <pc:docMk/>
            <pc:sldMk cId="4060749190" sldId="2147470144"/>
            <ac:spMk id="15" creationId="{8B273836-D1A8-A4A4-3EDE-14F2FD9F8ED0}"/>
          </ac:spMkLst>
        </pc:spChg>
        <pc:spChg chg="add mod">
          <ac:chgData name="Votana Srey" userId="13bee0a8-d205-440d-95f7-48959fdcf002" providerId="ADAL" clId="{0D44528D-A8F9-4657-BEDD-69DBD6A2190B}" dt="2023-02-03T02:03:16.691" v="2430" actId="1036"/>
          <ac:spMkLst>
            <pc:docMk/>
            <pc:sldMk cId="4060749190" sldId="2147470144"/>
            <ac:spMk id="16" creationId="{B18A8BAC-BE97-C99A-3874-173F4392E459}"/>
          </ac:spMkLst>
        </pc:spChg>
        <pc:spChg chg="add mod">
          <ac:chgData name="Votana Srey" userId="13bee0a8-d205-440d-95f7-48959fdcf002" providerId="ADAL" clId="{0D44528D-A8F9-4657-BEDD-69DBD6A2190B}" dt="2023-02-03T02:05:10.056" v="2493" actId="1076"/>
          <ac:spMkLst>
            <pc:docMk/>
            <pc:sldMk cId="4060749190" sldId="2147470144"/>
            <ac:spMk id="17" creationId="{D3D1C23D-8AB9-9079-5D44-BF9B9AD2B595}"/>
          </ac:spMkLst>
        </pc:spChg>
        <pc:spChg chg="add mod">
          <ac:chgData name="Votana Srey" userId="13bee0a8-d205-440d-95f7-48959fdcf002" providerId="ADAL" clId="{0D44528D-A8F9-4657-BEDD-69DBD6A2190B}" dt="2023-02-03T02:05:14.781" v="2496" actId="20577"/>
          <ac:spMkLst>
            <pc:docMk/>
            <pc:sldMk cId="4060749190" sldId="2147470144"/>
            <ac:spMk id="18" creationId="{32EF9311-8681-2245-F953-891B5F698D43}"/>
          </ac:spMkLst>
        </pc:spChg>
        <pc:spChg chg="add mod">
          <ac:chgData name="Votana Srey" userId="13bee0a8-d205-440d-95f7-48959fdcf002" providerId="ADAL" clId="{0D44528D-A8F9-4657-BEDD-69DBD6A2190B}" dt="2023-02-03T08:13:11.864" v="2598" actId="14100"/>
          <ac:spMkLst>
            <pc:docMk/>
            <pc:sldMk cId="4060749190" sldId="2147470144"/>
            <ac:spMk id="19" creationId="{5ED98A2B-2E7B-1758-6F4D-DD30D8325ECB}"/>
          </ac:spMkLst>
        </pc:spChg>
        <pc:spChg chg="add mod">
          <ac:chgData name="Votana Srey" userId="13bee0a8-d205-440d-95f7-48959fdcf002" providerId="ADAL" clId="{0D44528D-A8F9-4657-BEDD-69DBD6A2190B}" dt="2023-02-03T08:13:17.259" v="2607" actId="20577"/>
          <ac:spMkLst>
            <pc:docMk/>
            <pc:sldMk cId="4060749190" sldId="2147470144"/>
            <ac:spMk id="20" creationId="{6F6ACA02-C44C-9D39-9F8B-1300422DA33B}"/>
          </ac:spMkLst>
        </pc:spChg>
        <pc:picChg chg="add mod">
          <ac:chgData name="Votana Srey" userId="13bee0a8-d205-440d-95f7-48959fdcf002" providerId="ADAL" clId="{0D44528D-A8F9-4657-BEDD-69DBD6A2190B}" dt="2023-02-02T18:11:54.223" v="2171"/>
          <ac:picMkLst>
            <pc:docMk/>
            <pc:sldMk cId="4060749190" sldId="2147470144"/>
            <ac:picMk id="2" creationId="{F500ECE1-2BB6-A2FC-4D27-B250A0B7508B}"/>
          </ac:picMkLst>
        </pc:picChg>
        <pc:picChg chg="add del mod">
          <ac:chgData name="Votana Srey" userId="13bee0a8-d205-440d-95f7-48959fdcf002" providerId="ADAL" clId="{0D44528D-A8F9-4657-BEDD-69DBD6A2190B}" dt="2023-02-03T01:53:13.266" v="2239" actId="478"/>
          <ac:picMkLst>
            <pc:docMk/>
            <pc:sldMk cId="4060749190" sldId="2147470144"/>
            <ac:picMk id="9" creationId="{18669EE7-60D5-504B-EB55-B686D65BFE37}"/>
          </ac:picMkLst>
        </pc:picChg>
        <pc:picChg chg="add del mod">
          <ac:chgData name="Votana Srey" userId="13bee0a8-d205-440d-95f7-48959fdcf002" providerId="ADAL" clId="{0D44528D-A8F9-4657-BEDD-69DBD6A2190B}" dt="2023-02-03T01:53:13.266" v="2239" actId="478"/>
          <ac:picMkLst>
            <pc:docMk/>
            <pc:sldMk cId="4060749190" sldId="2147470144"/>
            <ac:picMk id="10" creationId="{19DCB39C-047F-758C-EFF1-F3575BB7D400}"/>
          </ac:picMkLst>
        </pc:picChg>
        <pc:picChg chg="add del mod">
          <ac:chgData name="Votana Srey" userId="13bee0a8-d205-440d-95f7-48959fdcf002" providerId="ADAL" clId="{0D44528D-A8F9-4657-BEDD-69DBD6A2190B}" dt="2023-02-03T01:53:13.266" v="2239" actId="478"/>
          <ac:picMkLst>
            <pc:docMk/>
            <pc:sldMk cId="4060749190" sldId="2147470144"/>
            <ac:picMk id="11" creationId="{B4FF7E7F-C283-CB64-BB94-5352B3C95529}"/>
          </ac:picMkLst>
        </pc:picChg>
        <pc:picChg chg="add mod">
          <ac:chgData name="Votana Srey" userId="13bee0a8-d205-440d-95f7-48959fdcf002" providerId="ADAL" clId="{0D44528D-A8F9-4657-BEDD-69DBD6A2190B}" dt="2023-02-03T02:02:57.436" v="2403" actId="1036"/>
          <ac:picMkLst>
            <pc:docMk/>
            <pc:sldMk cId="4060749190" sldId="2147470144"/>
            <ac:picMk id="11266" creationId="{28C7D70B-0F9E-6BFD-A414-9F0C181ED955}"/>
          </ac:picMkLst>
        </pc:picChg>
        <pc:picChg chg="add mod">
          <ac:chgData name="Votana Srey" userId="13bee0a8-d205-440d-95f7-48959fdcf002" providerId="ADAL" clId="{0D44528D-A8F9-4657-BEDD-69DBD6A2190B}" dt="2023-02-03T02:02:57.436" v="2403" actId="1036"/>
          <ac:picMkLst>
            <pc:docMk/>
            <pc:sldMk cId="4060749190" sldId="2147470144"/>
            <ac:picMk id="11268" creationId="{2B929309-9955-F6C4-8731-7E20C87B5956}"/>
          </ac:picMkLst>
        </pc:picChg>
        <pc:picChg chg="add mod">
          <ac:chgData name="Votana Srey" userId="13bee0a8-d205-440d-95f7-48959fdcf002" providerId="ADAL" clId="{0D44528D-A8F9-4657-BEDD-69DBD6A2190B}" dt="2023-02-03T02:04:29.435" v="2464" actId="1076"/>
          <ac:picMkLst>
            <pc:docMk/>
            <pc:sldMk cId="4060749190" sldId="2147470144"/>
            <ac:picMk id="11270" creationId="{AF16B377-7012-315A-475D-C4A2AACA4880}"/>
          </ac:picMkLst>
        </pc:picChg>
        <pc:picChg chg="add del">
          <ac:chgData name="Votana Srey" userId="13bee0a8-d205-440d-95f7-48959fdcf002" providerId="ADAL" clId="{0D44528D-A8F9-4657-BEDD-69DBD6A2190B}" dt="2023-02-03T01:53:18.215" v="2241" actId="478"/>
          <ac:picMkLst>
            <pc:docMk/>
            <pc:sldMk cId="4060749190" sldId="2147470144"/>
            <ac:picMk id="11272" creationId="{E44320A2-80C2-7BCB-640D-986FD092C9F4}"/>
          </ac:picMkLst>
        </pc:picChg>
        <pc:picChg chg="add del mod">
          <ac:chgData name="Votana Srey" userId="13bee0a8-d205-440d-95f7-48959fdcf002" providerId="ADAL" clId="{0D44528D-A8F9-4657-BEDD-69DBD6A2190B}" dt="2023-02-03T01:56:19.508" v="2275" actId="478"/>
          <ac:picMkLst>
            <pc:docMk/>
            <pc:sldMk cId="4060749190" sldId="2147470144"/>
            <ac:picMk id="11274" creationId="{EFA5776C-F259-E015-DDE3-6DE6C997EC0B}"/>
          </ac:picMkLst>
        </pc:picChg>
        <pc:picChg chg="add mod">
          <ac:chgData name="Votana Srey" userId="13bee0a8-d205-440d-95f7-48959fdcf002" providerId="ADAL" clId="{0D44528D-A8F9-4657-BEDD-69DBD6A2190B}" dt="2023-02-03T02:03:16.691" v="2430" actId="1036"/>
          <ac:picMkLst>
            <pc:docMk/>
            <pc:sldMk cId="4060749190" sldId="2147470144"/>
            <ac:picMk id="11276" creationId="{014679EF-C98A-FAC4-1CD5-58C230EC378A}"/>
          </ac:picMkLst>
        </pc:picChg>
        <pc:picChg chg="add mod">
          <ac:chgData name="Votana Srey" userId="13bee0a8-d205-440d-95f7-48959fdcf002" providerId="ADAL" clId="{0D44528D-A8F9-4657-BEDD-69DBD6A2190B}" dt="2023-02-03T02:03:16.691" v="2430" actId="1036"/>
          <ac:picMkLst>
            <pc:docMk/>
            <pc:sldMk cId="4060749190" sldId="2147470144"/>
            <ac:picMk id="11278" creationId="{05DA6F21-E71A-95C5-8232-952264A65828}"/>
          </ac:picMkLst>
        </pc:picChg>
        <pc:picChg chg="add del">
          <ac:chgData name="Votana Srey" userId="13bee0a8-d205-440d-95f7-48959fdcf002" providerId="ADAL" clId="{0D44528D-A8F9-4657-BEDD-69DBD6A2190B}" dt="2023-02-03T01:57:09.615" v="2280" actId="478"/>
          <ac:picMkLst>
            <pc:docMk/>
            <pc:sldMk cId="4060749190" sldId="2147470144"/>
            <ac:picMk id="11280" creationId="{20BD38A1-6E3E-9E43-1437-F90DEA350D5E}"/>
          </ac:picMkLst>
        </pc:picChg>
        <pc:picChg chg="add mod">
          <ac:chgData name="Votana Srey" userId="13bee0a8-d205-440d-95f7-48959fdcf002" providerId="ADAL" clId="{0D44528D-A8F9-4657-BEDD-69DBD6A2190B}" dt="2023-02-03T02:03:16.691" v="2430" actId="1036"/>
          <ac:picMkLst>
            <pc:docMk/>
            <pc:sldMk cId="4060749190" sldId="2147470144"/>
            <ac:picMk id="11282" creationId="{AB23B21C-3C4B-1E85-D821-3C20FE134636}"/>
          </ac:picMkLst>
        </pc:picChg>
        <pc:picChg chg="add del">
          <ac:chgData name="Votana Srey" userId="13bee0a8-d205-440d-95f7-48959fdcf002" providerId="ADAL" clId="{0D44528D-A8F9-4657-BEDD-69DBD6A2190B}" dt="2023-02-03T01:58:12.631" v="2296" actId="478"/>
          <ac:picMkLst>
            <pc:docMk/>
            <pc:sldMk cId="4060749190" sldId="2147470144"/>
            <ac:picMk id="11284" creationId="{0B5FF656-8831-9F50-2E0B-A73A23A1367D}"/>
          </ac:picMkLst>
        </pc:picChg>
        <pc:picChg chg="add mod">
          <ac:chgData name="Votana Srey" userId="13bee0a8-d205-440d-95f7-48959fdcf002" providerId="ADAL" clId="{0D44528D-A8F9-4657-BEDD-69DBD6A2190B}" dt="2023-02-03T02:03:16.691" v="2430" actId="1036"/>
          <ac:picMkLst>
            <pc:docMk/>
            <pc:sldMk cId="4060749190" sldId="2147470144"/>
            <ac:picMk id="11286" creationId="{369311DE-4413-C0FA-2DBF-04E6D0C6112E}"/>
          </ac:picMkLst>
        </pc:picChg>
        <pc:picChg chg="add mod">
          <ac:chgData name="Votana Srey" userId="13bee0a8-d205-440d-95f7-48959fdcf002" providerId="ADAL" clId="{0D44528D-A8F9-4657-BEDD-69DBD6A2190B}" dt="2023-02-03T02:03:16.691" v="2430" actId="1036"/>
          <ac:picMkLst>
            <pc:docMk/>
            <pc:sldMk cId="4060749190" sldId="2147470144"/>
            <ac:picMk id="11288" creationId="{D8F6E2A1-08BC-7410-C87A-62C63C9499B5}"/>
          </ac:picMkLst>
        </pc:picChg>
      </pc:sldChg>
      <pc:sldChg chg="addSp delSp modSp add mod">
        <pc:chgData name="Votana Srey" userId="13bee0a8-d205-440d-95f7-48959fdcf002" providerId="ADAL" clId="{0D44528D-A8F9-4657-BEDD-69DBD6A2190B}" dt="2023-02-17T15:27:45.559" v="3726" actId="20577"/>
        <pc:sldMkLst>
          <pc:docMk/>
          <pc:sldMk cId="2288843333" sldId="2147470145"/>
        </pc:sldMkLst>
        <pc:spChg chg="add del">
          <ac:chgData name="Votana Srey" userId="13bee0a8-d205-440d-95f7-48959fdcf002" providerId="ADAL" clId="{0D44528D-A8F9-4657-BEDD-69DBD6A2190B}" dt="2023-02-09T04:37:16.930" v="2640"/>
          <ac:spMkLst>
            <pc:docMk/>
            <pc:sldMk cId="2288843333" sldId="2147470145"/>
            <ac:spMk id="2" creationId="{4090D26B-CFBB-5595-F203-449D19DE40F5}"/>
          </ac:spMkLst>
        </pc:spChg>
        <pc:spChg chg="mod">
          <ac:chgData name="Votana Srey" userId="13bee0a8-d205-440d-95f7-48959fdcf002" providerId="ADAL" clId="{0D44528D-A8F9-4657-BEDD-69DBD6A2190B}" dt="2023-02-09T04:05:59.812" v="2638" actId="20577"/>
          <ac:spMkLst>
            <pc:docMk/>
            <pc:sldMk cId="2288843333" sldId="2147470145"/>
            <ac:spMk id="3" creationId="{FA226BB7-DA39-CDB7-C74A-FD4EEEAA2B6C}"/>
          </ac:spMkLst>
        </pc:spChg>
        <pc:spChg chg="add del">
          <ac:chgData name="Votana Srey" userId="13bee0a8-d205-440d-95f7-48959fdcf002" providerId="ADAL" clId="{0D44528D-A8F9-4657-BEDD-69DBD6A2190B}" dt="2023-02-09T04:38:05.767" v="2644"/>
          <ac:spMkLst>
            <pc:docMk/>
            <pc:sldMk cId="2288843333" sldId="2147470145"/>
            <ac:spMk id="4" creationId="{BAB5BF56-AE2F-B8D8-C8B7-2E822434D274}"/>
          </ac:spMkLst>
        </pc:spChg>
        <pc:spChg chg="del">
          <ac:chgData name="Votana Srey" userId="13bee0a8-d205-440d-95f7-48959fdcf002" providerId="ADAL" clId="{0D44528D-A8F9-4657-BEDD-69DBD6A2190B}" dt="2023-02-09T04:05:37.173" v="2609" actId="478"/>
          <ac:spMkLst>
            <pc:docMk/>
            <pc:sldMk cId="2288843333" sldId="2147470145"/>
            <ac:spMk id="7" creationId="{632464BB-24B2-4920-A74D-D8618DDA72C5}"/>
          </ac:spMkLst>
        </pc:spChg>
        <pc:spChg chg="del">
          <ac:chgData name="Votana Srey" userId="13bee0a8-d205-440d-95f7-48959fdcf002" providerId="ADAL" clId="{0D44528D-A8F9-4657-BEDD-69DBD6A2190B}" dt="2023-02-09T04:05:37.173" v="2609" actId="478"/>
          <ac:spMkLst>
            <pc:docMk/>
            <pc:sldMk cId="2288843333" sldId="2147470145"/>
            <ac:spMk id="8" creationId="{16C86254-61F8-4909-8F94-8AFB9576BD34}"/>
          </ac:spMkLst>
        </pc:spChg>
        <pc:spChg chg="del">
          <ac:chgData name="Votana Srey" userId="13bee0a8-d205-440d-95f7-48959fdcf002" providerId="ADAL" clId="{0D44528D-A8F9-4657-BEDD-69DBD6A2190B}" dt="2023-02-09T04:05:37.173" v="2609" actId="478"/>
          <ac:spMkLst>
            <pc:docMk/>
            <pc:sldMk cId="2288843333" sldId="2147470145"/>
            <ac:spMk id="13" creationId="{90A78B1E-02A3-4847-AF5E-9076E811FDC5}"/>
          </ac:spMkLst>
        </pc:spChg>
        <pc:spChg chg="add mod">
          <ac:chgData name="Votana Srey" userId="13bee0a8-d205-440d-95f7-48959fdcf002" providerId="ADAL" clId="{0D44528D-A8F9-4657-BEDD-69DBD6A2190B}" dt="2023-02-09T04:40:09.864" v="2719" actId="1036"/>
          <ac:spMkLst>
            <pc:docMk/>
            <pc:sldMk cId="2288843333" sldId="2147470145"/>
            <ac:spMk id="14" creationId="{388CAE5D-30C6-B3FC-DCA6-F3BBF9746C2C}"/>
          </ac:spMkLst>
        </pc:spChg>
        <pc:spChg chg="add mod">
          <ac:chgData name="Votana Srey" userId="13bee0a8-d205-440d-95f7-48959fdcf002" providerId="ADAL" clId="{0D44528D-A8F9-4657-BEDD-69DBD6A2190B}" dt="2023-02-09T04:40:09.864" v="2719" actId="1036"/>
          <ac:spMkLst>
            <pc:docMk/>
            <pc:sldMk cId="2288843333" sldId="2147470145"/>
            <ac:spMk id="15" creationId="{41129864-9CF4-7EB1-A53B-A35EC781DEEA}"/>
          </ac:spMkLst>
        </pc:spChg>
        <pc:spChg chg="add mod">
          <ac:chgData name="Votana Srey" userId="13bee0a8-d205-440d-95f7-48959fdcf002" providerId="ADAL" clId="{0D44528D-A8F9-4657-BEDD-69DBD6A2190B}" dt="2023-02-17T15:27:45.559" v="3726" actId="20577"/>
          <ac:spMkLst>
            <pc:docMk/>
            <pc:sldMk cId="2288843333" sldId="2147470145"/>
            <ac:spMk id="16" creationId="{52C67846-7462-E58F-88AA-344E6D07245E}"/>
          </ac:spMkLst>
        </pc:spChg>
        <pc:spChg chg="del">
          <ac:chgData name="Votana Srey" userId="13bee0a8-d205-440d-95f7-48959fdcf002" providerId="ADAL" clId="{0D44528D-A8F9-4657-BEDD-69DBD6A2190B}" dt="2023-02-09T04:05:37.173" v="2609" actId="478"/>
          <ac:spMkLst>
            <pc:docMk/>
            <pc:sldMk cId="2288843333" sldId="2147470145"/>
            <ac:spMk id="18" creationId="{9ECBF4F5-2DD6-D69C-7BE9-EEBAEB1985FE}"/>
          </ac:spMkLst>
        </pc:spChg>
        <pc:spChg chg="del">
          <ac:chgData name="Votana Srey" userId="13bee0a8-d205-440d-95f7-48959fdcf002" providerId="ADAL" clId="{0D44528D-A8F9-4657-BEDD-69DBD6A2190B}" dt="2023-02-09T04:05:37.173" v="2609" actId="478"/>
          <ac:spMkLst>
            <pc:docMk/>
            <pc:sldMk cId="2288843333" sldId="2147470145"/>
            <ac:spMk id="19" creationId="{648CED10-7171-0D0A-8DFB-9505654866DF}"/>
          </ac:spMkLst>
        </pc:spChg>
        <pc:spChg chg="add mod">
          <ac:chgData name="Votana Srey" userId="13bee0a8-d205-440d-95f7-48959fdcf002" providerId="ADAL" clId="{0D44528D-A8F9-4657-BEDD-69DBD6A2190B}" dt="2023-02-09T04:40:09.864" v="2719" actId="1036"/>
          <ac:spMkLst>
            <pc:docMk/>
            <pc:sldMk cId="2288843333" sldId="2147470145"/>
            <ac:spMk id="20" creationId="{0D337DB3-1ACE-DFC8-D885-F85C7131123A}"/>
          </ac:spMkLst>
        </pc:spChg>
        <pc:spChg chg="add mod">
          <ac:chgData name="Votana Srey" userId="13bee0a8-d205-440d-95f7-48959fdcf002" providerId="ADAL" clId="{0D44528D-A8F9-4657-BEDD-69DBD6A2190B}" dt="2023-02-09T04:40:09.864" v="2719" actId="1036"/>
          <ac:spMkLst>
            <pc:docMk/>
            <pc:sldMk cId="2288843333" sldId="2147470145"/>
            <ac:spMk id="23" creationId="{C6E405F3-4CCE-3610-DDF1-75C4780A90AA}"/>
          </ac:spMkLst>
        </pc:spChg>
        <pc:spChg chg="mod">
          <ac:chgData name="Votana Srey" userId="13bee0a8-d205-440d-95f7-48959fdcf002" providerId="ADAL" clId="{0D44528D-A8F9-4657-BEDD-69DBD6A2190B}" dt="2023-02-09T04:39:09.468" v="2666" actId="1038"/>
          <ac:spMkLst>
            <pc:docMk/>
            <pc:sldMk cId="2288843333" sldId="2147470145"/>
            <ac:spMk id="30" creationId="{29BC8092-237F-564C-458D-70A4E9A97202}"/>
          </ac:spMkLst>
        </pc:spChg>
        <pc:spChg chg="mod">
          <ac:chgData name="Votana Srey" userId="13bee0a8-d205-440d-95f7-48959fdcf002" providerId="ADAL" clId="{0D44528D-A8F9-4657-BEDD-69DBD6A2190B}" dt="2023-02-09T04:39:09.468" v="2666" actId="1038"/>
          <ac:spMkLst>
            <pc:docMk/>
            <pc:sldMk cId="2288843333" sldId="2147470145"/>
            <ac:spMk id="31" creationId="{98EC672A-C9E6-8BAE-D614-9008C1705CC3}"/>
          </ac:spMkLst>
        </pc:spChg>
        <pc:spChg chg="mod">
          <ac:chgData name="Votana Srey" userId="13bee0a8-d205-440d-95f7-48959fdcf002" providerId="ADAL" clId="{0D44528D-A8F9-4657-BEDD-69DBD6A2190B}" dt="2023-02-09T04:38:33.948" v="2646"/>
          <ac:spMkLst>
            <pc:docMk/>
            <pc:sldMk cId="2288843333" sldId="2147470145"/>
            <ac:spMk id="32" creationId="{24AE1EA5-90F4-ED4A-26F5-D5D4FCA436E0}"/>
          </ac:spMkLst>
        </pc:spChg>
        <pc:spChg chg="mod">
          <ac:chgData name="Votana Srey" userId="13bee0a8-d205-440d-95f7-48959fdcf002" providerId="ADAL" clId="{0D44528D-A8F9-4657-BEDD-69DBD6A2190B}" dt="2023-02-09T04:38:33.948" v="2646"/>
          <ac:spMkLst>
            <pc:docMk/>
            <pc:sldMk cId="2288843333" sldId="2147470145"/>
            <ac:spMk id="33" creationId="{E8649FCE-DA4B-C63C-6FF0-B2C840563AD7}"/>
          </ac:spMkLst>
        </pc:spChg>
        <pc:spChg chg="mod">
          <ac:chgData name="Votana Srey" userId="13bee0a8-d205-440d-95f7-48959fdcf002" providerId="ADAL" clId="{0D44528D-A8F9-4657-BEDD-69DBD6A2190B}" dt="2023-02-09T04:38:33.948" v="2646"/>
          <ac:spMkLst>
            <pc:docMk/>
            <pc:sldMk cId="2288843333" sldId="2147470145"/>
            <ac:spMk id="34" creationId="{EE429CAE-8BF3-F066-4F98-C8BD1B19F2B1}"/>
          </ac:spMkLst>
        </pc:spChg>
        <pc:spChg chg="mod">
          <ac:chgData name="Votana Srey" userId="13bee0a8-d205-440d-95f7-48959fdcf002" providerId="ADAL" clId="{0D44528D-A8F9-4657-BEDD-69DBD6A2190B}" dt="2023-02-09T04:38:33.948" v="2646"/>
          <ac:spMkLst>
            <pc:docMk/>
            <pc:sldMk cId="2288843333" sldId="2147470145"/>
            <ac:spMk id="35" creationId="{339CD3C1-6B19-57FC-135E-C420A6E6FBB5}"/>
          </ac:spMkLst>
        </pc:spChg>
        <pc:spChg chg="add mod">
          <ac:chgData name="Votana Srey" userId="13bee0a8-d205-440d-95f7-48959fdcf002" providerId="ADAL" clId="{0D44528D-A8F9-4657-BEDD-69DBD6A2190B}" dt="2023-02-09T04:40:09.864" v="2719" actId="1036"/>
          <ac:spMkLst>
            <pc:docMk/>
            <pc:sldMk cId="2288843333" sldId="2147470145"/>
            <ac:spMk id="36" creationId="{AD15B592-02EE-9EA2-9CE0-667922F19B55}"/>
          </ac:spMkLst>
        </pc:spChg>
        <pc:spChg chg="add mod">
          <ac:chgData name="Votana Srey" userId="13bee0a8-d205-440d-95f7-48959fdcf002" providerId="ADAL" clId="{0D44528D-A8F9-4657-BEDD-69DBD6A2190B}" dt="2023-02-09T04:40:09.864" v="2719" actId="1036"/>
          <ac:spMkLst>
            <pc:docMk/>
            <pc:sldMk cId="2288843333" sldId="2147470145"/>
            <ac:spMk id="37" creationId="{8E607640-FC82-EC9A-A0E3-0703EA584FB4}"/>
          </ac:spMkLst>
        </pc:spChg>
        <pc:spChg chg="add mod">
          <ac:chgData name="Votana Srey" userId="13bee0a8-d205-440d-95f7-48959fdcf002" providerId="ADAL" clId="{0D44528D-A8F9-4657-BEDD-69DBD6A2190B}" dt="2023-02-09T04:40:09.864" v="2719" actId="1036"/>
          <ac:spMkLst>
            <pc:docMk/>
            <pc:sldMk cId="2288843333" sldId="2147470145"/>
            <ac:spMk id="38" creationId="{D8DCF604-7FF8-22C0-5534-CD5E1FD40ECA}"/>
          </ac:spMkLst>
        </pc:spChg>
        <pc:spChg chg="add mod">
          <ac:chgData name="Votana Srey" userId="13bee0a8-d205-440d-95f7-48959fdcf002" providerId="ADAL" clId="{0D44528D-A8F9-4657-BEDD-69DBD6A2190B}" dt="2023-02-09T04:40:09.864" v="2719" actId="1036"/>
          <ac:spMkLst>
            <pc:docMk/>
            <pc:sldMk cId="2288843333" sldId="2147470145"/>
            <ac:spMk id="39" creationId="{7AC2E41B-CC29-476A-483F-886CFD120AB9}"/>
          </ac:spMkLst>
        </pc:spChg>
        <pc:spChg chg="add mod">
          <ac:chgData name="Votana Srey" userId="13bee0a8-d205-440d-95f7-48959fdcf002" providerId="ADAL" clId="{0D44528D-A8F9-4657-BEDD-69DBD6A2190B}" dt="2023-02-09T04:42:22.647" v="2769" actId="1037"/>
          <ac:spMkLst>
            <pc:docMk/>
            <pc:sldMk cId="2288843333" sldId="2147470145"/>
            <ac:spMk id="40" creationId="{98991FCE-026B-2B71-221D-DEFA0645640C}"/>
          </ac:spMkLst>
        </pc:spChg>
        <pc:spChg chg="add mod">
          <ac:chgData name="Votana Srey" userId="13bee0a8-d205-440d-95f7-48959fdcf002" providerId="ADAL" clId="{0D44528D-A8F9-4657-BEDD-69DBD6A2190B}" dt="2023-02-09T04:40:09.864" v="2719" actId="1036"/>
          <ac:spMkLst>
            <pc:docMk/>
            <pc:sldMk cId="2288843333" sldId="2147470145"/>
            <ac:spMk id="42" creationId="{595924B4-3591-8896-54A3-99A808966F83}"/>
          </ac:spMkLst>
        </pc:spChg>
        <pc:spChg chg="del">
          <ac:chgData name="Votana Srey" userId="13bee0a8-d205-440d-95f7-48959fdcf002" providerId="ADAL" clId="{0D44528D-A8F9-4657-BEDD-69DBD6A2190B}" dt="2023-02-09T04:05:37.173" v="2609" actId="478"/>
          <ac:spMkLst>
            <pc:docMk/>
            <pc:sldMk cId="2288843333" sldId="2147470145"/>
            <ac:spMk id="43" creationId="{711748B7-A61C-48EE-B51D-4FC593219A11}"/>
          </ac:spMkLst>
        </pc:spChg>
        <pc:spChg chg="add mod">
          <ac:chgData name="Votana Srey" userId="13bee0a8-d205-440d-95f7-48959fdcf002" providerId="ADAL" clId="{0D44528D-A8F9-4657-BEDD-69DBD6A2190B}" dt="2023-02-09T04:40:09.864" v="2719" actId="1036"/>
          <ac:spMkLst>
            <pc:docMk/>
            <pc:sldMk cId="2288843333" sldId="2147470145"/>
            <ac:spMk id="44" creationId="{81C17459-A04E-21FE-EB37-79E7005C29FA}"/>
          </ac:spMkLst>
        </pc:spChg>
        <pc:spChg chg="add mod">
          <ac:chgData name="Votana Srey" userId="13bee0a8-d205-440d-95f7-48959fdcf002" providerId="ADAL" clId="{0D44528D-A8F9-4657-BEDD-69DBD6A2190B}" dt="2023-02-09T04:40:09.864" v="2719" actId="1036"/>
          <ac:spMkLst>
            <pc:docMk/>
            <pc:sldMk cId="2288843333" sldId="2147470145"/>
            <ac:spMk id="45" creationId="{8140E231-1EDA-9578-6C88-AE7E8444A4A6}"/>
          </ac:spMkLst>
        </pc:spChg>
        <pc:spChg chg="add mod">
          <ac:chgData name="Votana Srey" userId="13bee0a8-d205-440d-95f7-48959fdcf002" providerId="ADAL" clId="{0D44528D-A8F9-4657-BEDD-69DBD6A2190B}" dt="2023-02-09T04:40:09.864" v="2719" actId="1036"/>
          <ac:spMkLst>
            <pc:docMk/>
            <pc:sldMk cId="2288843333" sldId="2147470145"/>
            <ac:spMk id="46" creationId="{15D5F002-3449-51D4-6FF4-6BB8D3036D45}"/>
          </ac:spMkLst>
        </pc:spChg>
        <pc:spChg chg="add mod">
          <ac:chgData name="Votana Srey" userId="13bee0a8-d205-440d-95f7-48959fdcf002" providerId="ADAL" clId="{0D44528D-A8F9-4657-BEDD-69DBD6A2190B}" dt="2023-02-09T04:40:09.864" v="2719" actId="1036"/>
          <ac:spMkLst>
            <pc:docMk/>
            <pc:sldMk cId="2288843333" sldId="2147470145"/>
            <ac:spMk id="47" creationId="{CDA847C3-DF80-8A48-E446-E7521DA59513}"/>
          </ac:spMkLst>
        </pc:spChg>
        <pc:spChg chg="add mod">
          <ac:chgData name="Votana Srey" userId="13bee0a8-d205-440d-95f7-48959fdcf002" providerId="ADAL" clId="{0D44528D-A8F9-4657-BEDD-69DBD6A2190B}" dt="2023-02-09T04:40:09.864" v="2719" actId="1036"/>
          <ac:spMkLst>
            <pc:docMk/>
            <pc:sldMk cId="2288843333" sldId="2147470145"/>
            <ac:spMk id="48" creationId="{458E4B34-9CE1-0019-64BD-BD9275F86EE8}"/>
          </ac:spMkLst>
        </pc:spChg>
        <pc:spChg chg="add mod">
          <ac:chgData name="Votana Srey" userId="13bee0a8-d205-440d-95f7-48959fdcf002" providerId="ADAL" clId="{0D44528D-A8F9-4657-BEDD-69DBD6A2190B}" dt="2023-02-09T04:40:09.864" v="2719" actId="1036"/>
          <ac:spMkLst>
            <pc:docMk/>
            <pc:sldMk cId="2288843333" sldId="2147470145"/>
            <ac:spMk id="51" creationId="{104AA0CC-FDDA-2ADA-3BDB-A6E047237F43}"/>
          </ac:spMkLst>
        </pc:spChg>
        <pc:spChg chg="add mod">
          <ac:chgData name="Votana Srey" userId="13bee0a8-d205-440d-95f7-48959fdcf002" providerId="ADAL" clId="{0D44528D-A8F9-4657-BEDD-69DBD6A2190B}" dt="2023-02-09T04:40:09.864" v="2719" actId="1036"/>
          <ac:spMkLst>
            <pc:docMk/>
            <pc:sldMk cId="2288843333" sldId="2147470145"/>
            <ac:spMk id="52" creationId="{04F7D391-EDD6-CBB2-C5B5-2C12C26FAEC5}"/>
          </ac:spMkLst>
        </pc:spChg>
        <pc:spChg chg="add mod">
          <ac:chgData name="Votana Srey" userId="13bee0a8-d205-440d-95f7-48959fdcf002" providerId="ADAL" clId="{0D44528D-A8F9-4657-BEDD-69DBD6A2190B}" dt="2023-02-09T04:43:19.685" v="2770" actId="113"/>
          <ac:spMkLst>
            <pc:docMk/>
            <pc:sldMk cId="2288843333" sldId="2147470145"/>
            <ac:spMk id="62" creationId="{C0830C9B-A823-8465-965B-8FED1C8F4DC6}"/>
          </ac:spMkLst>
        </pc:spChg>
        <pc:spChg chg="del">
          <ac:chgData name="Votana Srey" userId="13bee0a8-d205-440d-95f7-48959fdcf002" providerId="ADAL" clId="{0D44528D-A8F9-4657-BEDD-69DBD6A2190B}" dt="2023-02-09T04:05:37.173" v="2609" actId="478"/>
          <ac:spMkLst>
            <pc:docMk/>
            <pc:sldMk cId="2288843333" sldId="2147470145"/>
            <ac:spMk id="82" creationId="{12FD5DEE-A063-45C5-A68A-D2BFDA53DA3B}"/>
          </ac:spMkLst>
        </pc:spChg>
        <pc:spChg chg="del">
          <ac:chgData name="Votana Srey" userId="13bee0a8-d205-440d-95f7-48959fdcf002" providerId="ADAL" clId="{0D44528D-A8F9-4657-BEDD-69DBD6A2190B}" dt="2023-02-09T04:05:37.173" v="2609" actId="478"/>
          <ac:spMkLst>
            <pc:docMk/>
            <pc:sldMk cId="2288843333" sldId="2147470145"/>
            <ac:spMk id="88" creationId="{47144593-0E07-4C3F-8A17-27C6C77E89AC}"/>
          </ac:spMkLst>
        </pc:spChg>
        <pc:spChg chg="del">
          <ac:chgData name="Votana Srey" userId="13bee0a8-d205-440d-95f7-48959fdcf002" providerId="ADAL" clId="{0D44528D-A8F9-4657-BEDD-69DBD6A2190B}" dt="2023-02-09T04:05:37.173" v="2609" actId="478"/>
          <ac:spMkLst>
            <pc:docMk/>
            <pc:sldMk cId="2288843333" sldId="2147470145"/>
            <ac:spMk id="95" creationId="{ACFEFECC-2114-4979-9F52-51A450139568}"/>
          </ac:spMkLst>
        </pc:spChg>
        <pc:spChg chg="del">
          <ac:chgData name="Votana Srey" userId="13bee0a8-d205-440d-95f7-48959fdcf002" providerId="ADAL" clId="{0D44528D-A8F9-4657-BEDD-69DBD6A2190B}" dt="2023-02-09T04:05:37.173" v="2609" actId="478"/>
          <ac:spMkLst>
            <pc:docMk/>
            <pc:sldMk cId="2288843333" sldId="2147470145"/>
            <ac:spMk id="96" creationId="{F3EA08E7-7D10-4176-AE26-DB4884618F15}"/>
          </ac:spMkLst>
        </pc:spChg>
        <pc:spChg chg="del">
          <ac:chgData name="Votana Srey" userId="13bee0a8-d205-440d-95f7-48959fdcf002" providerId="ADAL" clId="{0D44528D-A8F9-4657-BEDD-69DBD6A2190B}" dt="2023-02-09T04:05:42.347" v="2610" actId="478"/>
          <ac:spMkLst>
            <pc:docMk/>
            <pc:sldMk cId="2288843333" sldId="2147470145"/>
            <ac:spMk id="97" creationId="{DFD254A7-6AA5-4D7C-B07C-8153F31B8998}"/>
          </ac:spMkLst>
        </pc:spChg>
        <pc:spChg chg="del">
          <ac:chgData name="Votana Srey" userId="13bee0a8-d205-440d-95f7-48959fdcf002" providerId="ADAL" clId="{0D44528D-A8F9-4657-BEDD-69DBD6A2190B}" dt="2023-02-09T04:05:37.173" v="2609" actId="478"/>
          <ac:spMkLst>
            <pc:docMk/>
            <pc:sldMk cId="2288843333" sldId="2147470145"/>
            <ac:spMk id="132" creationId="{536CEB6C-E337-45B7-93D7-820AAF34586C}"/>
          </ac:spMkLst>
        </pc:spChg>
        <pc:spChg chg="del">
          <ac:chgData name="Votana Srey" userId="13bee0a8-d205-440d-95f7-48959fdcf002" providerId="ADAL" clId="{0D44528D-A8F9-4657-BEDD-69DBD6A2190B}" dt="2023-02-09T04:05:37.173" v="2609" actId="478"/>
          <ac:spMkLst>
            <pc:docMk/>
            <pc:sldMk cId="2288843333" sldId="2147470145"/>
            <ac:spMk id="146" creationId="{49A1F8CF-DB77-41BB-866C-CA420E517C78}"/>
          </ac:spMkLst>
        </pc:spChg>
        <pc:spChg chg="del">
          <ac:chgData name="Votana Srey" userId="13bee0a8-d205-440d-95f7-48959fdcf002" providerId="ADAL" clId="{0D44528D-A8F9-4657-BEDD-69DBD6A2190B}" dt="2023-02-09T04:05:37.173" v="2609" actId="478"/>
          <ac:spMkLst>
            <pc:docMk/>
            <pc:sldMk cId="2288843333" sldId="2147470145"/>
            <ac:spMk id="204" creationId="{D369ED5E-078B-404E-9BF6-70B09D07DA6E}"/>
          </ac:spMkLst>
        </pc:spChg>
        <pc:spChg chg="del">
          <ac:chgData name="Votana Srey" userId="13bee0a8-d205-440d-95f7-48959fdcf002" providerId="ADAL" clId="{0D44528D-A8F9-4657-BEDD-69DBD6A2190B}" dt="2023-02-09T04:05:37.173" v="2609" actId="478"/>
          <ac:spMkLst>
            <pc:docMk/>
            <pc:sldMk cId="2288843333" sldId="2147470145"/>
            <ac:spMk id="236" creationId="{8889F9B6-CF92-4E25-8334-89689AC28DC6}"/>
          </ac:spMkLst>
        </pc:spChg>
        <pc:spChg chg="del">
          <ac:chgData name="Votana Srey" userId="13bee0a8-d205-440d-95f7-48959fdcf002" providerId="ADAL" clId="{0D44528D-A8F9-4657-BEDD-69DBD6A2190B}" dt="2023-02-09T04:05:37.173" v="2609" actId="478"/>
          <ac:spMkLst>
            <pc:docMk/>
            <pc:sldMk cId="2288843333" sldId="2147470145"/>
            <ac:spMk id="237" creationId="{72D5FF38-976A-406A-81B1-BBF8507848E7}"/>
          </ac:spMkLst>
        </pc:spChg>
        <pc:spChg chg="del">
          <ac:chgData name="Votana Srey" userId="13bee0a8-d205-440d-95f7-48959fdcf002" providerId="ADAL" clId="{0D44528D-A8F9-4657-BEDD-69DBD6A2190B}" dt="2023-02-09T04:05:37.173" v="2609" actId="478"/>
          <ac:spMkLst>
            <pc:docMk/>
            <pc:sldMk cId="2288843333" sldId="2147470145"/>
            <ac:spMk id="238" creationId="{2687BC96-19F4-48BF-BEFA-E7B589A3C067}"/>
          </ac:spMkLst>
        </pc:spChg>
        <pc:spChg chg="del">
          <ac:chgData name="Votana Srey" userId="13bee0a8-d205-440d-95f7-48959fdcf002" providerId="ADAL" clId="{0D44528D-A8F9-4657-BEDD-69DBD6A2190B}" dt="2023-02-09T04:05:37.173" v="2609" actId="478"/>
          <ac:spMkLst>
            <pc:docMk/>
            <pc:sldMk cId="2288843333" sldId="2147470145"/>
            <ac:spMk id="239" creationId="{59410BE0-DABB-4CF0-BCC7-40D5C2EBA034}"/>
          </ac:spMkLst>
        </pc:spChg>
        <pc:grpChg chg="add mod">
          <ac:chgData name="Votana Srey" userId="13bee0a8-d205-440d-95f7-48959fdcf002" providerId="ADAL" clId="{0D44528D-A8F9-4657-BEDD-69DBD6A2190B}" dt="2023-02-09T04:40:09.864" v="2719" actId="1036"/>
          <ac:grpSpMkLst>
            <pc:docMk/>
            <pc:sldMk cId="2288843333" sldId="2147470145"/>
            <ac:grpSpMk id="24" creationId="{7014BE07-7597-720B-E330-B697577FB88C}"/>
          </ac:grpSpMkLst>
        </pc:grpChg>
        <pc:picChg chg="add mod">
          <ac:chgData name="Votana Srey" userId="13bee0a8-d205-440d-95f7-48959fdcf002" providerId="ADAL" clId="{0D44528D-A8F9-4657-BEDD-69DBD6A2190B}" dt="2023-02-09T04:40:09.864" v="2719" actId="1036"/>
          <ac:picMkLst>
            <pc:docMk/>
            <pc:sldMk cId="2288843333" sldId="2147470145"/>
            <ac:picMk id="9" creationId="{BF1C81EF-1290-703C-D456-62D1E5DD74A8}"/>
          </ac:picMkLst>
        </pc:picChg>
        <pc:picChg chg="add mod">
          <ac:chgData name="Votana Srey" userId="13bee0a8-d205-440d-95f7-48959fdcf002" providerId="ADAL" clId="{0D44528D-A8F9-4657-BEDD-69DBD6A2190B}" dt="2023-02-09T04:40:09.864" v="2719" actId="1036"/>
          <ac:picMkLst>
            <pc:docMk/>
            <pc:sldMk cId="2288843333" sldId="2147470145"/>
            <ac:picMk id="10" creationId="{566BCB2F-7880-F135-B2C9-1976FF607D81}"/>
          </ac:picMkLst>
        </pc:picChg>
        <pc:picChg chg="add mod">
          <ac:chgData name="Votana Srey" userId="13bee0a8-d205-440d-95f7-48959fdcf002" providerId="ADAL" clId="{0D44528D-A8F9-4657-BEDD-69DBD6A2190B}" dt="2023-02-09T04:40:09.864" v="2719" actId="1036"/>
          <ac:picMkLst>
            <pc:docMk/>
            <pc:sldMk cId="2288843333" sldId="2147470145"/>
            <ac:picMk id="11" creationId="{18ACC618-B595-D285-55D8-47EC607EFE89}"/>
          </ac:picMkLst>
        </pc:picChg>
        <pc:picChg chg="add mod">
          <ac:chgData name="Votana Srey" userId="13bee0a8-d205-440d-95f7-48959fdcf002" providerId="ADAL" clId="{0D44528D-A8F9-4657-BEDD-69DBD6A2190B}" dt="2023-02-09T04:40:09.864" v="2719" actId="1036"/>
          <ac:picMkLst>
            <pc:docMk/>
            <pc:sldMk cId="2288843333" sldId="2147470145"/>
            <ac:picMk id="12" creationId="{9733FDD4-BF56-9565-AE91-5FF520C51161}"/>
          </ac:picMkLst>
        </pc:picChg>
        <pc:picChg chg="del">
          <ac:chgData name="Votana Srey" userId="13bee0a8-d205-440d-95f7-48959fdcf002" providerId="ADAL" clId="{0D44528D-A8F9-4657-BEDD-69DBD6A2190B}" dt="2023-02-09T04:05:44.290" v="2611" actId="478"/>
          <ac:picMkLst>
            <pc:docMk/>
            <pc:sldMk cId="2288843333" sldId="2147470145"/>
            <ac:picMk id="17" creationId="{5666DCE4-2EFC-8EB4-F166-478C2D970BE2}"/>
          </ac:picMkLst>
        </pc:picChg>
        <pc:picChg chg="add mod">
          <ac:chgData name="Votana Srey" userId="13bee0a8-d205-440d-95f7-48959fdcf002" providerId="ADAL" clId="{0D44528D-A8F9-4657-BEDD-69DBD6A2190B}" dt="2023-02-09T04:40:09.864" v="2719" actId="1036"/>
          <ac:picMkLst>
            <pc:docMk/>
            <pc:sldMk cId="2288843333" sldId="2147470145"/>
            <ac:picMk id="21" creationId="{9EF69883-CECC-2402-6B22-B9E02B80B625}"/>
          </ac:picMkLst>
        </pc:picChg>
        <pc:picChg chg="add mod">
          <ac:chgData name="Votana Srey" userId="13bee0a8-d205-440d-95f7-48959fdcf002" providerId="ADAL" clId="{0D44528D-A8F9-4657-BEDD-69DBD6A2190B}" dt="2023-02-09T04:40:09.864" v="2719" actId="1036"/>
          <ac:picMkLst>
            <pc:docMk/>
            <pc:sldMk cId="2288843333" sldId="2147470145"/>
            <ac:picMk id="22" creationId="{87C47F9E-B094-197A-A570-BBFB350B799D}"/>
          </ac:picMkLst>
        </pc:picChg>
        <pc:picChg chg="mod">
          <ac:chgData name="Votana Srey" userId="13bee0a8-d205-440d-95f7-48959fdcf002" providerId="ADAL" clId="{0D44528D-A8F9-4657-BEDD-69DBD6A2190B}" dt="2023-02-09T04:38:33.948" v="2646"/>
          <ac:picMkLst>
            <pc:docMk/>
            <pc:sldMk cId="2288843333" sldId="2147470145"/>
            <ac:picMk id="25" creationId="{11835CD2-07A6-40B1-5DEF-8DDE136D5DA2}"/>
          </ac:picMkLst>
        </pc:picChg>
        <pc:picChg chg="mod">
          <ac:chgData name="Votana Srey" userId="13bee0a8-d205-440d-95f7-48959fdcf002" providerId="ADAL" clId="{0D44528D-A8F9-4657-BEDD-69DBD6A2190B}" dt="2023-02-09T04:38:33.948" v="2646"/>
          <ac:picMkLst>
            <pc:docMk/>
            <pc:sldMk cId="2288843333" sldId="2147470145"/>
            <ac:picMk id="26" creationId="{306AEB80-EDE0-20F0-2066-1DA98BDE677F}"/>
          </ac:picMkLst>
        </pc:picChg>
        <pc:picChg chg="mod">
          <ac:chgData name="Votana Srey" userId="13bee0a8-d205-440d-95f7-48959fdcf002" providerId="ADAL" clId="{0D44528D-A8F9-4657-BEDD-69DBD6A2190B}" dt="2023-02-09T04:38:33.948" v="2646"/>
          <ac:picMkLst>
            <pc:docMk/>
            <pc:sldMk cId="2288843333" sldId="2147470145"/>
            <ac:picMk id="27" creationId="{62BDDA82-03FB-3DA2-A731-92B4D6127EC9}"/>
          </ac:picMkLst>
        </pc:picChg>
        <pc:picChg chg="mod">
          <ac:chgData name="Votana Srey" userId="13bee0a8-d205-440d-95f7-48959fdcf002" providerId="ADAL" clId="{0D44528D-A8F9-4657-BEDD-69DBD6A2190B}" dt="2023-02-09T04:38:33.948" v="2646"/>
          <ac:picMkLst>
            <pc:docMk/>
            <pc:sldMk cId="2288843333" sldId="2147470145"/>
            <ac:picMk id="28" creationId="{A3713589-B76E-C7DD-3A52-01974FF6916B}"/>
          </ac:picMkLst>
        </pc:picChg>
        <pc:picChg chg="mod">
          <ac:chgData name="Votana Srey" userId="13bee0a8-d205-440d-95f7-48959fdcf002" providerId="ADAL" clId="{0D44528D-A8F9-4657-BEDD-69DBD6A2190B}" dt="2023-02-09T04:38:33.948" v="2646"/>
          <ac:picMkLst>
            <pc:docMk/>
            <pc:sldMk cId="2288843333" sldId="2147470145"/>
            <ac:picMk id="29" creationId="{9F12AF40-3FEE-2631-8DA1-22048329F813}"/>
          </ac:picMkLst>
        </pc:picChg>
        <pc:picChg chg="add mod">
          <ac:chgData name="Votana Srey" userId="13bee0a8-d205-440d-95f7-48959fdcf002" providerId="ADAL" clId="{0D44528D-A8F9-4657-BEDD-69DBD6A2190B}" dt="2023-02-09T04:40:09.864" v="2719" actId="1036"/>
          <ac:picMkLst>
            <pc:docMk/>
            <pc:sldMk cId="2288843333" sldId="2147470145"/>
            <ac:picMk id="41" creationId="{89E0C420-8ED6-54FF-AC27-41549CD703D6}"/>
          </ac:picMkLst>
        </pc:picChg>
        <pc:picChg chg="add mod">
          <ac:chgData name="Votana Srey" userId="13bee0a8-d205-440d-95f7-48959fdcf002" providerId="ADAL" clId="{0D44528D-A8F9-4657-BEDD-69DBD6A2190B}" dt="2023-02-09T04:40:09.864" v="2719" actId="1036"/>
          <ac:picMkLst>
            <pc:docMk/>
            <pc:sldMk cId="2288843333" sldId="2147470145"/>
            <ac:picMk id="50" creationId="{09ED17A7-187B-792F-1F6E-961906B9097F}"/>
          </ac:picMkLst>
        </pc:picChg>
        <pc:picChg chg="add del">
          <ac:chgData name="Votana Srey" userId="13bee0a8-d205-440d-95f7-48959fdcf002" providerId="ADAL" clId="{0D44528D-A8F9-4657-BEDD-69DBD6A2190B}" dt="2023-02-09T04:37:16.930" v="2640"/>
          <ac:picMkLst>
            <pc:docMk/>
            <pc:sldMk cId="2288843333" sldId="2147470145"/>
            <ac:picMk id="1026" creationId="{1A30D95A-5085-230E-65B9-69EB987EE7FC}"/>
          </ac:picMkLst>
        </pc:picChg>
        <pc:picChg chg="add del">
          <ac:chgData name="Votana Srey" userId="13bee0a8-d205-440d-95f7-48959fdcf002" providerId="ADAL" clId="{0D44528D-A8F9-4657-BEDD-69DBD6A2190B}" dt="2023-02-09T04:37:16.930" v="2640"/>
          <ac:picMkLst>
            <pc:docMk/>
            <pc:sldMk cId="2288843333" sldId="2147470145"/>
            <ac:picMk id="1027" creationId="{74AFEC03-6781-06C3-0055-B3262A3D3804}"/>
          </ac:picMkLst>
        </pc:picChg>
        <pc:picChg chg="add del">
          <ac:chgData name="Votana Srey" userId="13bee0a8-d205-440d-95f7-48959fdcf002" providerId="ADAL" clId="{0D44528D-A8F9-4657-BEDD-69DBD6A2190B}" dt="2023-02-09T04:37:16.930" v="2640"/>
          <ac:picMkLst>
            <pc:docMk/>
            <pc:sldMk cId="2288843333" sldId="2147470145"/>
            <ac:picMk id="1028" creationId="{581AB843-F60A-E5B2-2A43-928ECD96D758}"/>
          </ac:picMkLst>
        </pc:picChg>
        <pc:picChg chg="add del">
          <ac:chgData name="Votana Srey" userId="13bee0a8-d205-440d-95f7-48959fdcf002" providerId="ADAL" clId="{0D44528D-A8F9-4657-BEDD-69DBD6A2190B}" dt="2023-02-09T04:37:16.930" v="2640"/>
          <ac:picMkLst>
            <pc:docMk/>
            <pc:sldMk cId="2288843333" sldId="2147470145"/>
            <ac:picMk id="1029" creationId="{6D1DA1D0-3E27-F2DD-D011-337ABE659338}"/>
          </ac:picMkLst>
        </pc:picChg>
        <pc:picChg chg="add del">
          <ac:chgData name="Votana Srey" userId="13bee0a8-d205-440d-95f7-48959fdcf002" providerId="ADAL" clId="{0D44528D-A8F9-4657-BEDD-69DBD6A2190B}" dt="2023-02-09T04:37:16.930" v="2640"/>
          <ac:picMkLst>
            <pc:docMk/>
            <pc:sldMk cId="2288843333" sldId="2147470145"/>
            <ac:picMk id="1030" creationId="{575B72B3-5C77-9B19-9317-B76E87A919F2}"/>
          </ac:picMkLst>
        </pc:picChg>
        <pc:picChg chg="add del">
          <ac:chgData name="Votana Srey" userId="13bee0a8-d205-440d-95f7-48959fdcf002" providerId="ADAL" clId="{0D44528D-A8F9-4657-BEDD-69DBD6A2190B}" dt="2023-02-09T04:37:16.930" v="2640"/>
          <ac:picMkLst>
            <pc:docMk/>
            <pc:sldMk cId="2288843333" sldId="2147470145"/>
            <ac:picMk id="1032" creationId="{02DE8964-C2EC-EF0B-42BF-D5F35E0C0F7D}"/>
          </ac:picMkLst>
        </pc:picChg>
        <pc:picChg chg="add del">
          <ac:chgData name="Votana Srey" userId="13bee0a8-d205-440d-95f7-48959fdcf002" providerId="ADAL" clId="{0D44528D-A8F9-4657-BEDD-69DBD6A2190B}" dt="2023-02-09T04:37:16.930" v="2640"/>
          <ac:picMkLst>
            <pc:docMk/>
            <pc:sldMk cId="2288843333" sldId="2147470145"/>
            <ac:picMk id="1033" creationId="{3CD35838-3373-67AC-58F1-B4874D5BDCE6}"/>
          </ac:picMkLst>
        </pc:picChg>
        <pc:picChg chg="add del">
          <ac:chgData name="Votana Srey" userId="13bee0a8-d205-440d-95f7-48959fdcf002" providerId="ADAL" clId="{0D44528D-A8F9-4657-BEDD-69DBD6A2190B}" dt="2023-02-09T04:38:05.767" v="2644"/>
          <ac:picMkLst>
            <pc:docMk/>
            <pc:sldMk cId="2288843333" sldId="2147470145"/>
            <ac:picMk id="1035" creationId="{4A3D81AC-FEF1-00D2-A814-CAAD8D458D34}"/>
          </ac:picMkLst>
        </pc:picChg>
        <pc:picChg chg="add del">
          <ac:chgData name="Votana Srey" userId="13bee0a8-d205-440d-95f7-48959fdcf002" providerId="ADAL" clId="{0D44528D-A8F9-4657-BEDD-69DBD6A2190B}" dt="2023-02-09T04:38:05.767" v="2644"/>
          <ac:picMkLst>
            <pc:docMk/>
            <pc:sldMk cId="2288843333" sldId="2147470145"/>
            <ac:picMk id="1036" creationId="{784895CD-4AD4-26DB-AB2F-69FAB3CEBA0E}"/>
          </ac:picMkLst>
        </pc:picChg>
        <pc:picChg chg="add del">
          <ac:chgData name="Votana Srey" userId="13bee0a8-d205-440d-95f7-48959fdcf002" providerId="ADAL" clId="{0D44528D-A8F9-4657-BEDD-69DBD6A2190B}" dt="2023-02-09T04:38:05.767" v="2644"/>
          <ac:picMkLst>
            <pc:docMk/>
            <pc:sldMk cId="2288843333" sldId="2147470145"/>
            <ac:picMk id="1037" creationId="{F810D98B-F1CF-9B6B-7A72-7D40AB06CF03}"/>
          </ac:picMkLst>
        </pc:picChg>
        <pc:picChg chg="add del mod">
          <ac:chgData name="Votana Srey" userId="13bee0a8-d205-440d-95f7-48959fdcf002" providerId="ADAL" clId="{0D44528D-A8F9-4657-BEDD-69DBD6A2190B}" dt="2023-02-09T04:38:05.767" v="2644"/>
          <ac:picMkLst>
            <pc:docMk/>
            <pc:sldMk cId="2288843333" sldId="2147470145"/>
            <ac:picMk id="1038" creationId="{21D637D8-48FC-E6C3-9EB4-692B4E8DD187}"/>
          </ac:picMkLst>
        </pc:picChg>
        <pc:picChg chg="add del">
          <ac:chgData name="Votana Srey" userId="13bee0a8-d205-440d-95f7-48959fdcf002" providerId="ADAL" clId="{0D44528D-A8F9-4657-BEDD-69DBD6A2190B}" dt="2023-02-09T04:38:05.767" v="2644"/>
          <ac:picMkLst>
            <pc:docMk/>
            <pc:sldMk cId="2288843333" sldId="2147470145"/>
            <ac:picMk id="1039" creationId="{D900B284-9C94-4CC3-6A83-5599B4DA6935}"/>
          </ac:picMkLst>
        </pc:picChg>
        <pc:picChg chg="add del">
          <ac:chgData name="Votana Srey" userId="13bee0a8-d205-440d-95f7-48959fdcf002" providerId="ADAL" clId="{0D44528D-A8F9-4657-BEDD-69DBD6A2190B}" dt="2023-02-09T04:38:05.767" v="2644"/>
          <ac:picMkLst>
            <pc:docMk/>
            <pc:sldMk cId="2288843333" sldId="2147470145"/>
            <ac:picMk id="1040" creationId="{CA6815C1-D3E8-64B1-A3AD-26564D09A359}"/>
          </ac:picMkLst>
        </pc:picChg>
        <pc:picChg chg="add del">
          <ac:chgData name="Votana Srey" userId="13bee0a8-d205-440d-95f7-48959fdcf002" providerId="ADAL" clId="{0D44528D-A8F9-4657-BEDD-69DBD6A2190B}" dt="2023-02-09T04:38:05.767" v="2644"/>
          <ac:picMkLst>
            <pc:docMk/>
            <pc:sldMk cId="2288843333" sldId="2147470145"/>
            <ac:picMk id="1042" creationId="{C9B629C6-6AFB-2AF5-734A-DE9B1C9B1398}"/>
          </ac:picMkLst>
        </pc:picChg>
        <pc:cxnChg chg="add mod">
          <ac:chgData name="Votana Srey" userId="13bee0a8-d205-440d-95f7-48959fdcf002" providerId="ADAL" clId="{0D44528D-A8F9-4657-BEDD-69DBD6A2190B}" dt="2023-02-09T04:40:09.864" v="2719" actId="1036"/>
          <ac:cxnSpMkLst>
            <pc:docMk/>
            <pc:sldMk cId="2288843333" sldId="2147470145"/>
            <ac:cxnSpMk id="49" creationId="{F1352309-5335-CB7F-96FA-ADD2F5AA395A}"/>
          </ac:cxnSpMkLst>
        </pc:cxnChg>
        <pc:cxnChg chg="del">
          <ac:chgData name="Votana Srey" userId="13bee0a8-d205-440d-95f7-48959fdcf002" providerId="ADAL" clId="{0D44528D-A8F9-4657-BEDD-69DBD6A2190B}" dt="2023-02-09T04:05:37.173" v="2609" actId="478"/>
          <ac:cxnSpMkLst>
            <pc:docMk/>
            <pc:sldMk cId="2288843333" sldId="2147470145"/>
            <ac:cxnSpMk id="241" creationId="{1C233873-5E51-4FDE-AE18-0D4B7D6B7700}"/>
          </ac:cxnSpMkLst>
        </pc:cxnChg>
        <pc:cxnChg chg="del">
          <ac:chgData name="Votana Srey" userId="13bee0a8-d205-440d-95f7-48959fdcf002" providerId="ADAL" clId="{0D44528D-A8F9-4657-BEDD-69DBD6A2190B}" dt="2023-02-09T04:05:37.173" v="2609" actId="478"/>
          <ac:cxnSpMkLst>
            <pc:docMk/>
            <pc:sldMk cId="2288843333" sldId="2147470145"/>
            <ac:cxnSpMk id="242" creationId="{6C5328E6-6E94-448D-BDB9-90C174AFEE69}"/>
          </ac:cxnSpMkLst>
        </pc:cxnChg>
        <pc:cxnChg chg="del">
          <ac:chgData name="Votana Srey" userId="13bee0a8-d205-440d-95f7-48959fdcf002" providerId="ADAL" clId="{0D44528D-A8F9-4657-BEDD-69DBD6A2190B}" dt="2023-02-09T04:05:37.173" v="2609" actId="478"/>
          <ac:cxnSpMkLst>
            <pc:docMk/>
            <pc:sldMk cId="2288843333" sldId="2147470145"/>
            <ac:cxnSpMk id="243" creationId="{FBA93B8E-9BE6-49FA-BA33-64C7195DD52C}"/>
          </ac:cxnSpMkLst>
        </pc:cxnChg>
        <pc:cxnChg chg="del">
          <ac:chgData name="Votana Srey" userId="13bee0a8-d205-440d-95f7-48959fdcf002" providerId="ADAL" clId="{0D44528D-A8F9-4657-BEDD-69DBD6A2190B}" dt="2023-02-09T04:05:37.173" v="2609" actId="478"/>
          <ac:cxnSpMkLst>
            <pc:docMk/>
            <pc:sldMk cId="2288843333" sldId="2147470145"/>
            <ac:cxnSpMk id="244" creationId="{3A08D279-EB45-4B0E-AEA8-6D6199A86014}"/>
          </ac:cxnSpMkLst>
        </pc:cxnChg>
      </pc:sldChg>
      <pc:sldChg chg="addSp delSp modSp add mod">
        <pc:chgData name="Votana Srey" userId="13bee0a8-d205-440d-95f7-48959fdcf002" providerId="ADAL" clId="{0D44528D-A8F9-4657-BEDD-69DBD6A2190B}" dt="2023-02-10T01:39:46.650" v="3022" actId="20577"/>
        <pc:sldMkLst>
          <pc:docMk/>
          <pc:sldMk cId="2884242161" sldId="2147470146"/>
        </pc:sldMkLst>
        <pc:spChg chg="mod">
          <ac:chgData name="Votana Srey" userId="13bee0a8-d205-440d-95f7-48959fdcf002" providerId="ADAL" clId="{0D44528D-A8F9-4657-BEDD-69DBD6A2190B}" dt="2023-02-09T04:49:59.389" v="2808" actId="1076"/>
          <ac:spMkLst>
            <pc:docMk/>
            <pc:sldMk cId="2884242161" sldId="2147470146"/>
            <ac:spMk id="3" creationId="{FA226BB7-DA39-CDB7-C74A-FD4EEEAA2B6C}"/>
          </ac:spMkLst>
        </pc:spChg>
        <pc:spChg chg="mod">
          <ac:chgData name="Votana Srey" userId="13bee0a8-d205-440d-95f7-48959fdcf002" providerId="ADAL" clId="{0D44528D-A8F9-4657-BEDD-69DBD6A2190B}" dt="2023-02-09T04:58:08.311" v="2942" actId="1037"/>
          <ac:spMkLst>
            <pc:docMk/>
            <pc:sldMk cId="2884242161" sldId="2147470146"/>
            <ac:spMk id="14" creationId="{388CAE5D-30C6-B3FC-DCA6-F3BBF9746C2C}"/>
          </ac:spMkLst>
        </pc:spChg>
        <pc:spChg chg="del mod">
          <ac:chgData name="Votana Srey" userId="13bee0a8-d205-440d-95f7-48959fdcf002" providerId="ADAL" clId="{0D44528D-A8F9-4657-BEDD-69DBD6A2190B}" dt="2023-02-09T04:55:53.770" v="2914" actId="478"/>
          <ac:spMkLst>
            <pc:docMk/>
            <pc:sldMk cId="2884242161" sldId="2147470146"/>
            <ac:spMk id="15" creationId="{41129864-9CF4-7EB1-A53B-A35EC781DEEA}"/>
          </ac:spMkLst>
        </pc:spChg>
        <pc:spChg chg="del mod">
          <ac:chgData name="Votana Srey" userId="13bee0a8-d205-440d-95f7-48959fdcf002" providerId="ADAL" clId="{0D44528D-A8F9-4657-BEDD-69DBD6A2190B}" dt="2023-02-09T04:55:53.770" v="2914" actId="478"/>
          <ac:spMkLst>
            <pc:docMk/>
            <pc:sldMk cId="2884242161" sldId="2147470146"/>
            <ac:spMk id="16" creationId="{52C67846-7462-E58F-88AA-344E6D07245E}"/>
          </ac:spMkLst>
        </pc:spChg>
        <pc:spChg chg="del mod">
          <ac:chgData name="Votana Srey" userId="13bee0a8-d205-440d-95f7-48959fdcf002" providerId="ADAL" clId="{0D44528D-A8F9-4657-BEDD-69DBD6A2190B}" dt="2023-02-09T04:55:53.770" v="2914" actId="478"/>
          <ac:spMkLst>
            <pc:docMk/>
            <pc:sldMk cId="2884242161" sldId="2147470146"/>
            <ac:spMk id="20" creationId="{0D337DB3-1ACE-DFC8-D885-F85C7131123A}"/>
          </ac:spMkLst>
        </pc:spChg>
        <pc:spChg chg="del mod">
          <ac:chgData name="Votana Srey" userId="13bee0a8-d205-440d-95f7-48959fdcf002" providerId="ADAL" clId="{0D44528D-A8F9-4657-BEDD-69DBD6A2190B}" dt="2023-02-09T04:55:53.770" v="2914" actId="478"/>
          <ac:spMkLst>
            <pc:docMk/>
            <pc:sldMk cId="2884242161" sldId="2147470146"/>
            <ac:spMk id="23" creationId="{C6E405F3-4CCE-3610-DDF1-75C4780A90AA}"/>
          </ac:spMkLst>
        </pc:spChg>
        <pc:spChg chg="mod">
          <ac:chgData name="Votana Srey" userId="13bee0a8-d205-440d-95f7-48959fdcf002" providerId="ADAL" clId="{0D44528D-A8F9-4657-BEDD-69DBD6A2190B}" dt="2023-02-09T06:57:04.328" v="3006" actId="255"/>
          <ac:spMkLst>
            <pc:docMk/>
            <pc:sldMk cId="2884242161" sldId="2147470146"/>
            <ac:spMk id="30" creationId="{29BC8092-237F-564C-458D-70A4E9A97202}"/>
          </ac:spMkLst>
        </pc:spChg>
        <pc:spChg chg="mod">
          <ac:chgData name="Votana Srey" userId="13bee0a8-d205-440d-95f7-48959fdcf002" providerId="ADAL" clId="{0D44528D-A8F9-4657-BEDD-69DBD6A2190B}" dt="2023-02-09T06:57:04.328" v="3006" actId="255"/>
          <ac:spMkLst>
            <pc:docMk/>
            <pc:sldMk cId="2884242161" sldId="2147470146"/>
            <ac:spMk id="31" creationId="{98EC672A-C9E6-8BAE-D614-9008C1705CC3}"/>
          </ac:spMkLst>
        </pc:spChg>
        <pc:spChg chg="mod">
          <ac:chgData name="Votana Srey" userId="13bee0a8-d205-440d-95f7-48959fdcf002" providerId="ADAL" clId="{0D44528D-A8F9-4657-BEDD-69DBD6A2190B}" dt="2023-02-09T06:57:04.328" v="3006" actId="255"/>
          <ac:spMkLst>
            <pc:docMk/>
            <pc:sldMk cId="2884242161" sldId="2147470146"/>
            <ac:spMk id="32" creationId="{24AE1EA5-90F4-ED4A-26F5-D5D4FCA436E0}"/>
          </ac:spMkLst>
        </pc:spChg>
        <pc:spChg chg="mod">
          <ac:chgData name="Votana Srey" userId="13bee0a8-d205-440d-95f7-48959fdcf002" providerId="ADAL" clId="{0D44528D-A8F9-4657-BEDD-69DBD6A2190B}" dt="2023-02-09T06:57:04.328" v="3006" actId="255"/>
          <ac:spMkLst>
            <pc:docMk/>
            <pc:sldMk cId="2884242161" sldId="2147470146"/>
            <ac:spMk id="33" creationId="{E8649FCE-DA4B-C63C-6FF0-B2C840563AD7}"/>
          </ac:spMkLst>
        </pc:spChg>
        <pc:spChg chg="mod">
          <ac:chgData name="Votana Srey" userId="13bee0a8-d205-440d-95f7-48959fdcf002" providerId="ADAL" clId="{0D44528D-A8F9-4657-BEDD-69DBD6A2190B}" dt="2023-02-09T06:57:04.328" v="3006" actId="255"/>
          <ac:spMkLst>
            <pc:docMk/>
            <pc:sldMk cId="2884242161" sldId="2147470146"/>
            <ac:spMk id="34" creationId="{EE429CAE-8BF3-F066-4F98-C8BD1B19F2B1}"/>
          </ac:spMkLst>
        </pc:spChg>
        <pc:spChg chg="mod">
          <ac:chgData name="Votana Srey" userId="13bee0a8-d205-440d-95f7-48959fdcf002" providerId="ADAL" clId="{0D44528D-A8F9-4657-BEDD-69DBD6A2190B}" dt="2023-02-09T04:58:13.539" v="2944" actId="1076"/>
          <ac:spMkLst>
            <pc:docMk/>
            <pc:sldMk cId="2884242161" sldId="2147470146"/>
            <ac:spMk id="36" creationId="{AD15B592-02EE-9EA2-9CE0-667922F19B55}"/>
          </ac:spMkLst>
        </pc:spChg>
        <pc:spChg chg="del mod">
          <ac:chgData name="Votana Srey" userId="13bee0a8-d205-440d-95f7-48959fdcf002" providerId="ADAL" clId="{0D44528D-A8F9-4657-BEDD-69DBD6A2190B}" dt="2023-02-09T04:55:53.770" v="2914" actId="478"/>
          <ac:spMkLst>
            <pc:docMk/>
            <pc:sldMk cId="2884242161" sldId="2147470146"/>
            <ac:spMk id="37" creationId="{8E607640-FC82-EC9A-A0E3-0703EA584FB4}"/>
          </ac:spMkLst>
        </pc:spChg>
        <pc:spChg chg="del mod">
          <ac:chgData name="Votana Srey" userId="13bee0a8-d205-440d-95f7-48959fdcf002" providerId="ADAL" clId="{0D44528D-A8F9-4657-BEDD-69DBD6A2190B}" dt="2023-02-09T04:55:53.770" v="2914" actId="478"/>
          <ac:spMkLst>
            <pc:docMk/>
            <pc:sldMk cId="2884242161" sldId="2147470146"/>
            <ac:spMk id="38" creationId="{D8DCF604-7FF8-22C0-5534-CD5E1FD40ECA}"/>
          </ac:spMkLst>
        </pc:spChg>
        <pc:spChg chg="del mod">
          <ac:chgData name="Votana Srey" userId="13bee0a8-d205-440d-95f7-48959fdcf002" providerId="ADAL" clId="{0D44528D-A8F9-4657-BEDD-69DBD6A2190B}" dt="2023-02-09T04:55:53.770" v="2914" actId="478"/>
          <ac:spMkLst>
            <pc:docMk/>
            <pc:sldMk cId="2884242161" sldId="2147470146"/>
            <ac:spMk id="39" creationId="{7AC2E41B-CC29-476A-483F-886CFD120AB9}"/>
          </ac:spMkLst>
        </pc:spChg>
        <pc:spChg chg="del mod">
          <ac:chgData name="Votana Srey" userId="13bee0a8-d205-440d-95f7-48959fdcf002" providerId="ADAL" clId="{0D44528D-A8F9-4657-BEDD-69DBD6A2190B}" dt="2023-02-09T04:55:53.770" v="2914" actId="478"/>
          <ac:spMkLst>
            <pc:docMk/>
            <pc:sldMk cId="2884242161" sldId="2147470146"/>
            <ac:spMk id="40" creationId="{98991FCE-026B-2B71-221D-DEFA0645640C}"/>
          </ac:spMkLst>
        </pc:spChg>
        <pc:spChg chg="del mod">
          <ac:chgData name="Votana Srey" userId="13bee0a8-d205-440d-95f7-48959fdcf002" providerId="ADAL" clId="{0D44528D-A8F9-4657-BEDD-69DBD6A2190B}" dt="2023-02-09T04:55:53.770" v="2914" actId="478"/>
          <ac:spMkLst>
            <pc:docMk/>
            <pc:sldMk cId="2884242161" sldId="2147470146"/>
            <ac:spMk id="42" creationId="{595924B4-3591-8896-54A3-99A808966F83}"/>
          </ac:spMkLst>
        </pc:spChg>
        <pc:spChg chg="del mod">
          <ac:chgData name="Votana Srey" userId="13bee0a8-d205-440d-95f7-48959fdcf002" providerId="ADAL" clId="{0D44528D-A8F9-4657-BEDD-69DBD6A2190B}" dt="2023-02-09T04:51:14.244" v="2817" actId="478"/>
          <ac:spMkLst>
            <pc:docMk/>
            <pc:sldMk cId="2884242161" sldId="2147470146"/>
            <ac:spMk id="43" creationId="{BD435BAA-27B5-E51D-E2C5-25199DCA434A}"/>
          </ac:spMkLst>
        </pc:spChg>
        <pc:spChg chg="del mod">
          <ac:chgData name="Votana Srey" userId="13bee0a8-d205-440d-95f7-48959fdcf002" providerId="ADAL" clId="{0D44528D-A8F9-4657-BEDD-69DBD6A2190B}" dt="2023-02-09T04:55:53.770" v="2914" actId="478"/>
          <ac:spMkLst>
            <pc:docMk/>
            <pc:sldMk cId="2884242161" sldId="2147470146"/>
            <ac:spMk id="44" creationId="{81C17459-A04E-21FE-EB37-79E7005C29FA}"/>
          </ac:spMkLst>
        </pc:spChg>
        <pc:spChg chg="del mod">
          <ac:chgData name="Votana Srey" userId="13bee0a8-d205-440d-95f7-48959fdcf002" providerId="ADAL" clId="{0D44528D-A8F9-4657-BEDD-69DBD6A2190B}" dt="2023-02-09T04:55:53.770" v="2914" actId="478"/>
          <ac:spMkLst>
            <pc:docMk/>
            <pc:sldMk cId="2884242161" sldId="2147470146"/>
            <ac:spMk id="45" creationId="{8140E231-1EDA-9578-6C88-AE7E8444A4A6}"/>
          </ac:spMkLst>
        </pc:spChg>
        <pc:spChg chg="del mod">
          <ac:chgData name="Votana Srey" userId="13bee0a8-d205-440d-95f7-48959fdcf002" providerId="ADAL" clId="{0D44528D-A8F9-4657-BEDD-69DBD6A2190B}" dt="2023-02-09T04:55:53.770" v="2914" actId="478"/>
          <ac:spMkLst>
            <pc:docMk/>
            <pc:sldMk cId="2884242161" sldId="2147470146"/>
            <ac:spMk id="46" creationId="{15D5F002-3449-51D4-6FF4-6BB8D3036D45}"/>
          </ac:spMkLst>
        </pc:spChg>
        <pc:spChg chg="del">
          <ac:chgData name="Votana Srey" userId="13bee0a8-d205-440d-95f7-48959fdcf002" providerId="ADAL" clId="{0D44528D-A8F9-4657-BEDD-69DBD6A2190B}" dt="2023-02-09T04:55:53.770" v="2914" actId="478"/>
          <ac:spMkLst>
            <pc:docMk/>
            <pc:sldMk cId="2884242161" sldId="2147470146"/>
            <ac:spMk id="47" creationId="{CDA847C3-DF80-8A48-E446-E7521DA59513}"/>
          </ac:spMkLst>
        </pc:spChg>
        <pc:spChg chg="del">
          <ac:chgData name="Votana Srey" userId="13bee0a8-d205-440d-95f7-48959fdcf002" providerId="ADAL" clId="{0D44528D-A8F9-4657-BEDD-69DBD6A2190B}" dt="2023-02-09T04:50:57.317" v="2810" actId="478"/>
          <ac:spMkLst>
            <pc:docMk/>
            <pc:sldMk cId="2884242161" sldId="2147470146"/>
            <ac:spMk id="48" creationId="{458E4B34-9CE1-0019-64BD-BD9275F86EE8}"/>
          </ac:spMkLst>
        </pc:spChg>
        <pc:spChg chg="mod">
          <ac:chgData name="Votana Srey" userId="13bee0a8-d205-440d-95f7-48959fdcf002" providerId="ADAL" clId="{0D44528D-A8F9-4657-BEDD-69DBD6A2190B}" dt="2023-02-09T04:58:08.311" v="2942" actId="1037"/>
          <ac:spMkLst>
            <pc:docMk/>
            <pc:sldMk cId="2884242161" sldId="2147470146"/>
            <ac:spMk id="51" creationId="{104AA0CC-FDDA-2ADA-3BDB-A6E047237F43}"/>
          </ac:spMkLst>
        </pc:spChg>
        <pc:spChg chg="del mod">
          <ac:chgData name="Votana Srey" userId="13bee0a8-d205-440d-95f7-48959fdcf002" providerId="ADAL" clId="{0D44528D-A8F9-4657-BEDD-69DBD6A2190B}" dt="2023-02-09T04:51:28.173" v="2823" actId="478"/>
          <ac:spMkLst>
            <pc:docMk/>
            <pc:sldMk cId="2884242161" sldId="2147470146"/>
            <ac:spMk id="52" creationId="{04F7D391-EDD6-CBB2-C5B5-2C12C26FAEC5}"/>
          </ac:spMkLst>
        </pc:spChg>
        <pc:spChg chg="del mod">
          <ac:chgData name="Votana Srey" userId="13bee0a8-d205-440d-95f7-48959fdcf002" providerId="ADAL" clId="{0D44528D-A8F9-4657-BEDD-69DBD6A2190B}" dt="2023-02-09T04:51:14.244" v="2817" actId="478"/>
          <ac:spMkLst>
            <pc:docMk/>
            <pc:sldMk cId="2884242161" sldId="2147470146"/>
            <ac:spMk id="53" creationId="{A54F4259-F4D8-4E96-A48A-8894A429BE70}"/>
          </ac:spMkLst>
        </pc:spChg>
        <pc:spChg chg="del mod topLvl">
          <ac:chgData name="Votana Srey" userId="13bee0a8-d205-440d-95f7-48959fdcf002" providerId="ADAL" clId="{0D44528D-A8F9-4657-BEDD-69DBD6A2190B}" dt="2023-02-09T04:51:25.504" v="2822" actId="478"/>
          <ac:spMkLst>
            <pc:docMk/>
            <pc:sldMk cId="2884242161" sldId="2147470146"/>
            <ac:spMk id="54" creationId="{9D74581C-288E-92D2-CE4F-4ED659D4085F}"/>
          </ac:spMkLst>
        </pc:spChg>
        <pc:spChg chg="del mod topLvl">
          <ac:chgData name="Votana Srey" userId="13bee0a8-d205-440d-95f7-48959fdcf002" providerId="ADAL" clId="{0D44528D-A8F9-4657-BEDD-69DBD6A2190B}" dt="2023-02-09T04:51:25.504" v="2822" actId="478"/>
          <ac:spMkLst>
            <pc:docMk/>
            <pc:sldMk cId="2884242161" sldId="2147470146"/>
            <ac:spMk id="55" creationId="{062332DC-A48F-695D-F44E-A62F549BC41D}"/>
          </ac:spMkLst>
        </pc:spChg>
        <pc:spChg chg="del mod topLvl">
          <ac:chgData name="Votana Srey" userId="13bee0a8-d205-440d-95f7-48959fdcf002" providerId="ADAL" clId="{0D44528D-A8F9-4657-BEDD-69DBD6A2190B}" dt="2023-02-09T04:51:25.504" v="2822" actId="478"/>
          <ac:spMkLst>
            <pc:docMk/>
            <pc:sldMk cId="2884242161" sldId="2147470146"/>
            <ac:spMk id="56" creationId="{06D1CC73-9727-BFA9-930B-816C3D5A1C93}"/>
          </ac:spMkLst>
        </pc:spChg>
        <pc:spChg chg="del mod topLvl">
          <ac:chgData name="Votana Srey" userId="13bee0a8-d205-440d-95f7-48959fdcf002" providerId="ADAL" clId="{0D44528D-A8F9-4657-BEDD-69DBD6A2190B}" dt="2023-02-09T04:51:25.504" v="2822" actId="478"/>
          <ac:spMkLst>
            <pc:docMk/>
            <pc:sldMk cId="2884242161" sldId="2147470146"/>
            <ac:spMk id="57" creationId="{EB9BF114-B826-C86E-1C5E-A032F68BCAF3}"/>
          </ac:spMkLst>
        </pc:spChg>
        <pc:spChg chg="add mod">
          <ac:chgData name="Votana Srey" userId="13bee0a8-d205-440d-95f7-48959fdcf002" providerId="ADAL" clId="{0D44528D-A8F9-4657-BEDD-69DBD6A2190B}" dt="2023-02-09T04:58:08.311" v="2942" actId="1037"/>
          <ac:spMkLst>
            <pc:docMk/>
            <pc:sldMk cId="2884242161" sldId="2147470146"/>
            <ac:spMk id="59" creationId="{45330BCF-91B9-3BAA-10DE-5CE014D15438}"/>
          </ac:spMkLst>
        </pc:spChg>
        <pc:spChg chg="add mod">
          <ac:chgData name="Votana Srey" userId="13bee0a8-d205-440d-95f7-48959fdcf002" providerId="ADAL" clId="{0D44528D-A8F9-4657-BEDD-69DBD6A2190B}" dt="2023-02-09T04:58:08.311" v="2942" actId="1037"/>
          <ac:spMkLst>
            <pc:docMk/>
            <pc:sldMk cId="2884242161" sldId="2147470146"/>
            <ac:spMk id="60" creationId="{4CBE2AD4-5F64-EC2F-41E4-FDB72A634D35}"/>
          </ac:spMkLst>
        </pc:spChg>
        <pc:spChg chg="add mod">
          <ac:chgData name="Votana Srey" userId="13bee0a8-d205-440d-95f7-48959fdcf002" providerId="ADAL" clId="{0D44528D-A8F9-4657-BEDD-69DBD6A2190B}" dt="2023-02-09T04:58:08.311" v="2942" actId="1037"/>
          <ac:spMkLst>
            <pc:docMk/>
            <pc:sldMk cId="2884242161" sldId="2147470146"/>
            <ac:spMk id="61" creationId="{7AA1EB47-C58D-92E4-270E-AACF64797946}"/>
          </ac:spMkLst>
        </pc:spChg>
        <pc:spChg chg="mod">
          <ac:chgData name="Votana Srey" userId="13bee0a8-d205-440d-95f7-48959fdcf002" providerId="ADAL" clId="{0D44528D-A8F9-4657-BEDD-69DBD6A2190B}" dt="2023-02-09T04:54:36.114" v="2881" actId="1076"/>
          <ac:spMkLst>
            <pc:docMk/>
            <pc:sldMk cId="2884242161" sldId="2147470146"/>
            <ac:spMk id="62" creationId="{C0830C9B-A823-8465-965B-8FED1C8F4DC6}"/>
          </ac:spMkLst>
        </pc:spChg>
        <pc:spChg chg="add mod">
          <ac:chgData name="Votana Srey" userId="13bee0a8-d205-440d-95f7-48959fdcf002" providerId="ADAL" clId="{0D44528D-A8F9-4657-BEDD-69DBD6A2190B}" dt="2023-02-10T01:38:35.245" v="3007" actId="1076"/>
          <ac:spMkLst>
            <pc:docMk/>
            <pc:sldMk cId="2884242161" sldId="2147470146"/>
            <ac:spMk id="64" creationId="{1DB7810C-484B-FA6A-4802-704E9CFF88FB}"/>
          </ac:spMkLst>
        </pc:spChg>
        <pc:spChg chg="add mod">
          <ac:chgData name="Votana Srey" userId="13bee0a8-d205-440d-95f7-48959fdcf002" providerId="ADAL" clId="{0D44528D-A8F9-4657-BEDD-69DBD6A2190B}" dt="2023-02-09T04:58:28.240" v="2946" actId="1076"/>
          <ac:spMkLst>
            <pc:docMk/>
            <pc:sldMk cId="2884242161" sldId="2147470146"/>
            <ac:spMk id="65" creationId="{1C305A3B-4605-7164-8B86-D9AF44264621}"/>
          </ac:spMkLst>
        </pc:spChg>
        <pc:spChg chg="add mod">
          <ac:chgData name="Votana Srey" userId="13bee0a8-d205-440d-95f7-48959fdcf002" providerId="ADAL" clId="{0D44528D-A8F9-4657-BEDD-69DBD6A2190B}" dt="2023-02-10T01:38:35.245" v="3007" actId="1076"/>
          <ac:spMkLst>
            <pc:docMk/>
            <pc:sldMk cId="2884242161" sldId="2147470146"/>
            <ac:spMk id="67" creationId="{5A03BB4C-3C0F-E535-3DC4-49030D36A070}"/>
          </ac:spMkLst>
        </pc:spChg>
        <pc:spChg chg="add del mod">
          <ac:chgData name="Votana Srey" userId="13bee0a8-d205-440d-95f7-48959fdcf002" providerId="ADAL" clId="{0D44528D-A8F9-4657-BEDD-69DBD6A2190B}" dt="2023-02-09T04:58:42.796" v="2963" actId="478"/>
          <ac:spMkLst>
            <pc:docMk/>
            <pc:sldMk cId="2884242161" sldId="2147470146"/>
            <ac:spMk id="69" creationId="{67A41D53-8101-1C92-2127-E9A223195C85}"/>
          </ac:spMkLst>
        </pc:spChg>
        <pc:spChg chg="add mod">
          <ac:chgData name="Votana Srey" userId="13bee0a8-d205-440d-95f7-48959fdcf002" providerId="ADAL" clId="{0D44528D-A8F9-4657-BEDD-69DBD6A2190B}" dt="2023-02-09T04:58:28.240" v="2946" actId="1076"/>
          <ac:spMkLst>
            <pc:docMk/>
            <pc:sldMk cId="2884242161" sldId="2147470146"/>
            <ac:spMk id="70" creationId="{4A2D91F9-BBD6-64CD-FB9A-77161598FA08}"/>
          </ac:spMkLst>
        </pc:spChg>
        <pc:spChg chg="add mod">
          <ac:chgData name="Votana Srey" userId="13bee0a8-d205-440d-95f7-48959fdcf002" providerId="ADAL" clId="{0D44528D-A8F9-4657-BEDD-69DBD6A2190B}" dt="2023-02-09T04:58:34.110" v="2962" actId="20577"/>
          <ac:spMkLst>
            <pc:docMk/>
            <pc:sldMk cId="2884242161" sldId="2147470146"/>
            <ac:spMk id="71" creationId="{E5B27E03-92BF-926C-5E71-224A18AAF985}"/>
          </ac:spMkLst>
        </pc:spChg>
        <pc:spChg chg="add mod">
          <ac:chgData name="Votana Srey" userId="13bee0a8-d205-440d-95f7-48959fdcf002" providerId="ADAL" clId="{0D44528D-A8F9-4657-BEDD-69DBD6A2190B}" dt="2023-02-10T01:39:46.650" v="3022" actId="20577"/>
          <ac:spMkLst>
            <pc:docMk/>
            <pc:sldMk cId="2884242161" sldId="2147470146"/>
            <ac:spMk id="73" creationId="{BEDC7E70-3BB5-7464-1A49-5C0437833733}"/>
          </ac:spMkLst>
        </pc:spChg>
        <pc:grpChg chg="add del mod">
          <ac:chgData name="Votana Srey" userId="13bee0a8-d205-440d-95f7-48959fdcf002" providerId="ADAL" clId="{0D44528D-A8F9-4657-BEDD-69DBD6A2190B}" dt="2023-02-09T04:51:21.321" v="2819" actId="165"/>
          <ac:grpSpMkLst>
            <pc:docMk/>
            <pc:sldMk cId="2884242161" sldId="2147470146"/>
            <ac:grpSpMk id="7" creationId="{0504D49B-C9FC-DEB8-CBC2-B99F1008561F}"/>
          </ac:grpSpMkLst>
        </pc:grpChg>
        <pc:grpChg chg="mod">
          <ac:chgData name="Votana Srey" userId="13bee0a8-d205-440d-95f7-48959fdcf002" providerId="ADAL" clId="{0D44528D-A8F9-4657-BEDD-69DBD6A2190B}" dt="2023-02-09T04:54:42.844" v="2882" actId="14100"/>
          <ac:grpSpMkLst>
            <pc:docMk/>
            <pc:sldMk cId="2884242161" sldId="2147470146"/>
            <ac:grpSpMk id="24" creationId="{7014BE07-7597-720B-E330-B697577FB88C}"/>
          </ac:grpSpMkLst>
        </pc:grpChg>
        <pc:picChg chg="del mod">
          <ac:chgData name="Votana Srey" userId="13bee0a8-d205-440d-95f7-48959fdcf002" providerId="ADAL" clId="{0D44528D-A8F9-4657-BEDD-69DBD6A2190B}" dt="2023-02-09T04:51:14.244" v="2817" actId="478"/>
          <ac:picMkLst>
            <pc:docMk/>
            <pc:sldMk cId="2884242161" sldId="2147470146"/>
            <ac:picMk id="8" creationId="{F1A190F9-9921-D156-AC4C-2571ADD94F40}"/>
          </ac:picMkLst>
        </pc:picChg>
        <pc:picChg chg="mod">
          <ac:chgData name="Votana Srey" userId="13bee0a8-d205-440d-95f7-48959fdcf002" providerId="ADAL" clId="{0D44528D-A8F9-4657-BEDD-69DBD6A2190B}" dt="2023-02-09T04:58:08.311" v="2942" actId="1037"/>
          <ac:picMkLst>
            <pc:docMk/>
            <pc:sldMk cId="2884242161" sldId="2147470146"/>
            <ac:picMk id="9" creationId="{BF1C81EF-1290-703C-D456-62D1E5DD74A8}"/>
          </ac:picMkLst>
        </pc:picChg>
        <pc:picChg chg="del mod">
          <ac:chgData name="Votana Srey" userId="13bee0a8-d205-440d-95f7-48959fdcf002" providerId="ADAL" clId="{0D44528D-A8F9-4657-BEDD-69DBD6A2190B}" dt="2023-02-09T04:55:53.770" v="2914" actId="478"/>
          <ac:picMkLst>
            <pc:docMk/>
            <pc:sldMk cId="2884242161" sldId="2147470146"/>
            <ac:picMk id="10" creationId="{566BCB2F-7880-F135-B2C9-1976FF607D81}"/>
          </ac:picMkLst>
        </pc:picChg>
        <pc:picChg chg="del mod">
          <ac:chgData name="Votana Srey" userId="13bee0a8-d205-440d-95f7-48959fdcf002" providerId="ADAL" clId="{0D44528D-A8F9-4657-BEDD-69DBD6A2190B}" dt="2023-02-09T04:55:53.770" v="2914" actId="478"/>
          <ac:picMkLst>
            <pc:docMk/>
            <pc:sldMk cId="2884242161" sldId="2147470146"/>
            <ac:picMk id="11" creationId="{18ACC618-B595-D285-55D8-47EC607EFE89}"/>
          </ac:picMkLst>
        </pc:picChg>
        <pc:picChg chg="del mod">
          <ac:chgData name="Votana Srey" userId="13bee0a8-d205-440d-95f7-48959fdcf002" providerId="ADAL" clId="{0D44528D-A8F9-4657-BEDD-69DBD6A2190B}" dt="2023-02-09T04:55:53.770" v="2914" actId="478"/>
          <ac:picMkLst>
            <pc:docMk/>
            <pc:sldMk cId="2884242161" sldId="2147470146"/>
            <ac:picMk id="12" creationId="{9733FDD4-BF56-9565-AE91-5FF520C51161}"/>
          </ac:picMkLst>
        </pc:picChg>
        <pc:picChg chg="del mod topLvl">
          <ac:chgData name="Votana Srey" userId="13bee0a8-d205-440d-95f7-48959fdcf002" providerId="ADAL" clId="{0D44528D-A8F9-4657-BEDD-69DBD6A2190B}" dt="2023-02-09T04:51:25.504" v="2822" actId="478"/>
          <ac:picMkLst>
            <pc:docMk/>
            <pc:sldMk cId="2884242161" sldId="2147470146"/>
            <ac:picMk id="13" creationId="{D651010B-9D21-CD29-014E-316F9E744049}"/>
          </ac:picMkLst>
        </pc:picChg>
        <pc:picChg chg="del mod">
          <ac:chgData name="Votana Srey" userId="13bee0a8-d205-440d-95f7-48959fdcf002" providerId="ADAL" clId="{0D44528D-A8F9-4657-BEDD-69DBD6A2190B}" dt="2023-02-09T04:51:09.309" v="2815" actId="478"/>
          <ac:picMkLst>
            <pc:docMk/>
            <pc:sldMk cId="2884242161" sldId="2147470146"/>
            <ac:picMk id="17" creationId="{592CFC84-E823-ABD3-96F2-E99182ADEE32}"/>
          </ac:picMkLst>
        </pc:picChg>
        <pc:picChg chg="del mod topLvl">
          <ac:chgData name="Votana Srey" userId="13bee0a8-d205-440d-95f7-48959fdcf002" providerId="ADAL" clId="{0D44528D-A8F9-4657-BEDD-69DBD6A2190B}" dt="2023-02-09T04:51:25.504" v="2822" actId="478"/>
          <ac:picMkLst>
            <pc:docMk/>
            <pc:sldMk cId="2884242161" sldId="2147470146"/>
            <ac:picMk id="18" creationId="{D7B267EA-92F2-E9E4-1F22-6D6589C38813}"/>
          </ac:picMkLst>
        </pc:picChg>
        <pc:picChg chg="del mod topLvl">
          <ac:chgData name="Votana Srey" userId="13bee0a8-d205-440d-95f7-48959fdcf002" providerId="ADAL" clId="{0D44528D-A8F9-4657-BEDD-69DBD6A2190B}" dt="2023-02-09T04:51:25.504" v="2822" actId="478"/>
          <ac:picMkLst>
            <pc:docMk/>
            <pc:sldMk cId="2884242161" sldId="2147470146"/>
            <ac:picMk id="19" creationId="{4FB87E2D-BB45-EA3F-A415-63C21CA62D4E}"/>
          </ac:picMkLst>
        </pc:picChg>
        <pc:picChg chg="del mod">
          <ac:chgData name="Votana Srey" userId="13bee0a8-d205-440d-95f7-48959fdcf002" providerId="ADAL" clId="{0D44528D-A8F9-4657-BEDD-69DBD6A2190B}" dt="2023-02-09T04:55:53.770" v="2914" actId="478"/>
          <ac:picMkLst>
            <pc:docMk/>
            <pc:sldMk cId="2884242161" sldId="2147470146"/>
            <ac:picMk id="21" creationId="{9EF69883-CECC-2402-6B22-B9E02B80B625}"/>
          </ac:picMkLst>
        </pc:picChg>
        <pc:picChg chg="del mod">
          <ac:chgData name="Votana Srey" userId="13bee0a8-d205-440d-95f7-48959fdcf002" providerId="ADAL" clId="{0D44528D-A8F9-4657-BEDD-69DBD6A2190B}" dt="2023-02-09T04:55:53.770" v="2914" actId="478"/>
          <ac:picMkLst>
            <pc:docMk/>
            <pc:sldMk cId="2884242161" sldId="2147470146"/>
            <ac:picMk id="22" creationId="{87C47F9E-B094-197A-A570-BBFB350B799D}"/>
          </ac:picMkLst>
        </pc:picChg>
        <pc:picChg chg="del mod">
          <ac:chgData name="Votana Srey" userId="13bee0a8-d205-440d-95f7-48959fdcf002" providerId="ADAL" clId="{0D44528D-A8F9-4657-BEDD-69DBD6A2190B}" dt="2023-02-09T04:55:53.770" v="2914" actId="478"/>
          <ac:picMkLst>
            <pc:docMk/>
            <pc:sldMk cId="2884242161" sldId="2147470146"/>
            <ac:picMk id="41" creationId="{89E0C420-8ED6-54FF-AC27-41549CD703D6}"/>
          </ac:picMkLst>
        </pc:picChg>
        <pc:picChg chg="mod">
          <ac:chgData name="Votana Srey" userId="13bee0a8-d205-440d-95f7-48959fdcf002" providerId="ADAL" clId="{0D44528D-A8F9-4657-BEDD-69DBD6A2190B}" dt="2023-02-09T04:58:08.311" v="2942" actId="1037"/>
          <ac:picMkLst>
            <pc:docMk/>
            <pc:sldMk cId="2884242161" sldId="2147470146"/>
            <ac:picMk id="50" creationId="{09ED17A7-187B-792F-1F6E-961906B9097F}"/>
          </ac:picMkLst>
        </pc:picChg>
        <pc:picChg chg="add mod">
          <ac:chgData name="Votana Srey" userId="13bee0a8-d205-440d-95f7-48959fdcf002" providerId="ADAL" clId="{0D44528D-A8F9-4657-BEDD-69DBD6A2190B}" dt="2023-02-09T04:58:08.311" v="2942" actId="1037"/>
          <ac:picMkLst>
            <pc:docMk/>
            <pc:sldMk cId="2884242161" sldId="2147470146"/>
            <ac:picMk id="58" creationId="{54285FF7-DA70-B78F-0272-6C61DA077B49}"/>
          </ac:picMkLst>
        </pc:picChg>
        <pc:picChg chg="add mod">
          <ac:chgData name="Votana Srey" userId="13bee0a8-d205-440d-95f7-48959fdcf002" providerId="ADAL" clId="{0D44528D-A8F9-4657-BEDD-69DBD6A2190B}" dt="2023-02-10T01:38:35.245" v="3007" actId="1076"/>
          <ac:picMkLst>
            <pc:docMk/>
            <pc:sldMk cId="2884242161" sldId="2147470146"/>
            <ac:picMk id="63" creationId="{2606C88F-B675-A3D2-2F88-4F740F0CE704}"/>
          </ac:picMkLst>
        </pc:picChg>
        <pc:picChg chg="add mod">
          <ac:chgData name="Votana Srey" userId="13bee0a8-d205-440d-95f7-48959fdcf002" providerId="ADAL" clId="{0D44528D-A8F9-4657-BEDD-69DBD6A2190B}" dt="2023-02-10T01:38:35.245" v="3007" actId="1076"/>
          <ac:picMkLst>
            <pc:docMk/>
            <pc:sldMk cId="2884242161" sldId="2147470146"/>
            <ac:picMk id="66" creationId="{5D00FC7E-5A56-42D9-0F70-971791ED03EC}"/>
          </ac:picMkLst>
        </pc:picChg>
        <pc:picChg chg="add del mod">
          <ac:chgData name="Votana Srey" userId="13bee0a8-d205-440d-95f7-48959fdcf002" providerId="ADAL" clId="{0D44528D-A8F9-4657-BEDD-69DBD6A2190B}" dt="2023-02-09T04:58:42.796" v="2963" actId="478"/>
          <ac:picMkLst>
            <pc:docMk/>
            <pc:sldMk cId="2884242161" sldId="2147470146"/>
            <ac:picMk id="68" creationId="{0F3FC0A5-3111-E29F-20EB-BBF5C3736517}"/>
          </ac:picMkLst>
        </pc:picChg>
        <pc:picChg chg="add mod">
          <ac:chgData name="Votana Srey" userId="13bee0a8-d205-440d-95f7-48959fdcf002" providerId="ADAL" clId="{0D44528D-A8F9-4657-BEDD-69DBD6A2190B}" dt="2023-02-10T01:39:09.826" v="3009" actId="1076"/>
          <ac:picMkLst>
            <pc:docMk/>
            <pc:sldMk cId="2884242161" sldId="2147470146"/>
            <ac:picMk id="72" creationId="{D9CAF861-5F4A-6B7F-9CE0-0B0E0F64A519}"/>
          </ac:picMkLst>
        </pc:picChg>
        <pc:cxnChg chg="del mod">
          <ac:chgData name="Votana Srey" userId="13bee0a8-d205-440d-95f7-48959fdcf002" providerId="ADAL" clId="{0D44528D-A8F9-4657-BEDD-69DBD6A2190B}" dt="2023-02-09T04:50:58.933" v="2811" actId="478"/>
          <ac:cxnSpMkLst>
            <pc:docMk/>
            <pc:sldMk cId="2884242161" sldId="2147470146"/>
            <ac:cxnSpMk id="49" creationId="{F1352309-5335-CB7F-96FA-ADD2F5AA395A}"/>
          </ac:cxnSpMkLst>
        </pc:cxnChg>
      </pc:sldChg>
      <pc:sldChg chg="addSp delSp modSp add mod">
        <pc:chgData name="Votana Srey" userId="13bee0a8-d205-440d-95f7-48959fdcf002" providerId="ADAL" clId="{0D44528D-A8F9-4657-BEDD-69DBD6A2190B}" dt="2023-02-13T06:02:54.273" v="3713" actId="1076"/>
        <pc:sldMkLst>
          <pc:docMk/>
          <pc:sldMk cId="3742971938" sldId="2147470147"/>
        </pc:sldMkLst>
        <pc:spChg chg="add mod">
          <ac:chgData name="Votana Srey" userId="13bee0a8-d205-440d-95f7-48959fdcf002" providerId="ADAL" clId="{0D44528D-A8F9-4657-BEDD-69DBD6A2190B}" dt="2023-02-13T06:02:54.273" v="3713" actId="1076"/>
          <ac:spMkLst>
            <pc:docMk/>
            <pc:sldMk cId="3742971938" sldId="2147470147"/>
            <ac:spMk id="2" creationId="{82E916DE-D5D5-D727-5B85-18430424F92F}"/>
          </ac:spMkLst>
        </pc:spChg>
        <pc:spChg chg="add mod">
          <ac:chgData name="Votana Srey" userId="13bee0a8-d205-440d-95f7-48959fdcf002" providerId="ADAL" clId="{0D44528D-A8F9-4657-BEDD-69DBD6A2190B}" dt="2023-02-13T06:02:54.273" v="3713" actId="1076"/>
          <ac:spMkLst>
            <pc:docMk/>
            <pc:sldMk cId="3742971938" sldId="2147470147"/>
            <ac:spMk id="4" creationId="{5BA3CD8F-30D4-6404-8130-8A976E62313A}"/>
          </ac:spMkLst>
        </pc:spChg>
        <pc:spChg chg="add mod">
          <ac:chgData name="Votana Srey" userId="13bee0a8-d205-440d-95f7-48959fdcf002" providerId="ADAL" clId="{0D44528D-A8F9-4657-BEDD-69DBD6A2190B}" dt="2023-02-13T06:02:54.273" v="3713" actId="1076"/>
          <ac:spMkLst>
            <pc:docMk/>
            <pc:sldMk cId="3742971938" sldId="2147470147"/>
            <ac:spMk id="7" creationId="{93497556-A39E-C9F6-CA31-642D326E8228}"/>
          </ac:spMkLst>
        </pc:spChg>
        <pc:spChg chg="add mod">
          <ac:chgData name="Votana Srey" userId="13bee0a8-d205-440d-95f7-48959fdcf002" providerId="ADAL" clId="{0D44528D-A8F9-4657-BEDD-69DBD6A2190B}" dt="2023-02-13T06:02:54.273" v="3713" actId="1076"/>
          <ac:spMkLst>
            <pc:docMk/>
            <pc:sldMk cId="3742971938" sldId="2147470147"/>
            <ac:spMk id="8" creationId="{4B0BD1B3-6589-271C-8A64-F78B6FC18E0C}"/>
          </ac:spMkLst>
        </pc:spChg>
        <pc:spChg chg="add mod">
          <ac:chgData name="Votana Srey" userId="13bee0a8-d205-440d-95f7-48959fdcf002" providerId="ADAL" clId="{0D44528D-A8F9-4657-BEDD-69DBD6A2190B}" dt="2023-02-13T06:02:54.273" v="3713" actId="1076"/>
          <ac:spMkLst>
            <pc:docMk/>
            <pc:sldMk cId="3742971938" sldId="2147470147"/>
            <ac:spMk id="10" creationId="{C41D776F-CBA1-7D80-6795-71FB18946218}"/>
          </ac:spMkLst>
        </pc:spChg>
        <pc:spChg chg="add mod">
          <ac:chgData name="Votana Srey" userId="13bee0a8-d205-440d-95f7-48959fdcf002" providerId="ADAL" clId="{0D44528D-A8F9-4657-BEDD-69DBD6A2190B}" dt="2023-02-13T06:02:54.273" v="3713" actId="1076"/>
          <ac:spMkLst>
            <pc:docMk/>
            <pc:sldMk cId="3742971938" sldId="2147470147"/>
            <ac:spMk id="11" creationId="{EE22FC85-1F41-F714-EBFE-84A3B7736281}"/>
          </ac:spMkLst>
        </pc:spChg>
        <pc:spChg chg="add mod">
          <ac:chgData name="Votana Srey" userId="13bee0a8-d205-440d-95f7-48959fdcf002" providerId="ADAL" clId="{0D44528D-A8F9-4657-BEDD-69DBD6A2190B}" dt="2023-02-13T06:02:54.273" v="3713" actId="1076"/>
          <ac:spMkLst>
            <pc:docMk/>
            <pc:sldMk cId="3742971938" sldId="2147470147"/>
            <ac:spMk id="12" creationId="{15345C60-208B-BA57-3184-D3C231BF9057}"/>
          </ac:spMkLst>
        </pc:spChg>
        <pc:spChg chg="add mod">
          <ac:chgData name="Votana Srey" userId="13bee0a8-d205-440d-95f7-48959fdcf002" providerId="ADAL" clId="{0D44528D-A8F9-4657-BEDD-69DBD6A2190B}" dt="2023-02-13T06:02:54.273" v="3713" actId="1076"/>
          <ac:spMkLst>
            <pc:docMk/>
            <pc:sldMk cId="3742971938" sldId="2147470147"/>
            <ac:spMk id="13" creationId="{178CC533-431A-047A-9701-144270640A84}"/>
          </ac:spMkLst>
        </pc:spChg>
        <pc:spChg chg="del">
          <ac:chgData name="Votana Srey" userId="13bee0a8-d205-440d-95f7-48959fdcf002" providerId="ADAL" clId="{0D44528D-A8F9-4657-BEDD-69DBD6A2190B}" dt="2023-02-13T03:29:42.492" v="3024" actId="478"/>
          <ac:spMkLst>
            <pc:docMk/>
            <pc:sldMk cId="3742971938" sldId="2147470147"/>
            <ac:spMk id="14" creationId="{388CAE5D-30C6-B3FC-DCA6-F3BBF9746C2C}"/>
          </ac:spMkLst>
        </pc:spChg>
        <pc:spChg chg="add mod">
          <ac:chgData name="Votana Srey" userId="13bee0a8-d205-440d-95f7-48959fdcf002" providerId="ADAL" clId="{0D44528D-A8F9-4657-BEDD-69DBD6A2190B}" dt="2023-02-13T06:02:54.273" v="3713" actId="1076"/>
          <ac:spMkLst>
            <pc:docMk/>
            <pc:sldMk cId="3742971938" sldId="2147470147"/>
            <ac:spMk id="15" creationId="{12800822-DBF9-48DF-0E3C-75DDBB1A562A}"/>
          </ac:spMkLst>
        </pc:spChg>
        <pc:spChg chg="add del mod">
          <ac:chgData name="Votana Srey" userId="13bee0a8-d205-440d-95f7-48959fdcf002" providerId="ADAL" clId="{0D44528D-A8F9-4657-BEDD-69DBD6A2190B}" dt="2023-02-13T03:51:44.315" v="3255" actId="478"/>
          <ac:spMkLst>
            <pc:docMk/>
            <pc:sldMk cId="3742971938" sldId="2147470147"/>
            <ac:spMk id="16" creationId="{4A10BCF2-E313-FD0A-0AA4-FD3568DA93B9}"/>
          </ac:spMkLst>
        </pc:spChg>
        <pc:spChg chg="add mod">
          <ac:chgData name="Votana Srey" userId="13bee0a8-d205-440d-95f7-48959fdcf002" providerId="ADAL" clId="{0D44528D-A8F9-4657-BEDD-69DBD6A2190B}" dt="2023-02-13T06:02:54.273" v="3713" actId="1076"/>
          <ac:spMkLst>
            <pc:docMk/>
            <pc:sldMk cId="3742971938" sldId="2147470147"/>
            <ac:spMk id="17" creationId="{D06714C0-8035-E29A-917B-16554B0B9F9B}"/>
          </ac:spMkLst>
        </pc:spChg>
        <pc:spChg chg="add mod">
          <ac:chgData name="Votana Srey" userId="13bee0a8-d205-440d-95f7-48959fdcf002" providerId="ADAL" clId="{0D44528D-A8F9-4657-BEDD-69DBD6A2190B}" dt="2023-02-13T06:02:54.273" v="3713" actId="1076"/>
          <ac:spMkLst>
            <pc:docMk/>
            <pc:sldMk cId="3742971938" sldId="2147470147"/>
            <ac:spMk id="18" creationId="{E000606E-A990-AF2E-E803-68681E847B6C}"/>
          </ac:spMkLst>
        </pc:spChg>
        <pc:spChg chg="add mod">
          <ac:chgData name="Votana Srey" userId="13bee0a8-d205-440d-95f7-48959fdcf002" providerId="ADAL" clId="{0D44528D-A8F9-4657-BEDD-69DBD6A2190B}" dt="2023-02-13T06:02:54.273" v="3713" actId="1076"/>
          <ac:spMkLst>
            <pc:docMk/>
            <pc:sldMk cId="3742971938" sldId="2147470147"/>
            <ac:spMk id="19" creationId="{60D138F8-BD91-04C7-D744-0F5268EF0EBB}"/>
          </ac:spMkLst>
        </pc:spChg>
        <pc:spChg chg="add mod">
          <ac:chgData name="Votana Srey" userId="13bee0a8-d205-440d-95f7-48959fdcf002" providerId="ADAL" clId="{0D44528D-A8F9-4657-BEDD-69DBD6A2190B}" dt="2023-02-13T06:02:54.273" v="3713" actId="1076"/>
          <ac:spMkLst>
            <pc:docMk/>
            <pc:sldMk cId="3742971938" sldId="2147470147"/>
            <ac:spMk id="20" creationId="{999CBAD0-2146-0190-412F-3794E4AE91FE}"/>
          </ac:spMkLst>
        </pc:spChg>
        <pc:spChg chg="add mod">
          <ac:chgData name="Votana Srey" userId="13bee0a8-d205-440d-95f7-48959fdcf002" providerId="ADAL" clId="{0D44528D-A8F9-4657-BEDD-69DBD6A2190B}" dt="2023-02-13T06:02:54.273" v="3713" actId="1076"/>
          <ac:spMkLst>
            <pc:docMk/>
            <pc:sldMk cId="3742971938" sldId="2147470147"/>
            <ac:spMk id="21" creationId="{7339EDFD-58AC-9570-B3E5-09556D86891D}"/>
          </ac:spMkLst>
        </pc:spChg>
        <pc:spChg chg="add mod">
          <ac:chgData name="Votana Srey" userId="13bee0a8-d205-440d-95f7-48959fdcf002" providerId="ADAL" clId="{0D44528D-A8F9-4657-BEDD-69DBD6A2190B}" dt="2023-02-13T06:02:54.273" v="3713" actId="1076"/>
          <ac:spMkLst>
            <pc:docMk/>
            <pc:sldMk cId="3742971938" sldId="2147470147"/>
            <ac:spMk id="22" creationId="{3D47F833-1B2F-9086-C1E8-53C90B977603}"/>
          </ac:spMkLst>
        </pc:spChg>
        <pc:spChg chg="add mod">
          <ac:chgData name="Votana Srey" userId="13bee0a8-d205-440d-95f7-48959fdcf002" providerId="ADAL" clId="{0D44528D-A8F9-4657-BEDD-69DBD6A2190B}" dt="2023-02-13T06:02:54.273" v="3713" actId="1076"/>
          <ac:spMkLst>
            <pc:docMk/>
            <pc:sldMk cId="3742971938" sldId="2147470147"/>
            <ac:spMk id="23" creationId="{37FDAD41-331F-B844-5C4E-75297F8CD6CC}"/>
          </ac:spMkLst>
        </pc:spChg>
        <pc:spChg chg="del">
          <ac:chgData name="Votana Srey" userId="13bee0a8-d205-440d-95f7-48959fdcf002" providerId="ADAL" clId="{0D44528D-A8F9-4657-BEDD-69DBD6A2190B}" dt="2023-02-13T03:29:42.492" v="3024" actId="478"/>
          <ac:spMkLst>
            <pc:docMk/>
            <pc:sldMk cId="3742971938" sldId="2147470147"/>
            <ac:spMk id="36" creationId="{AD15B592-02EE-9EA2-9CE0-667922F19B55}"/>
          </ac:spMkLst>
        </pc:spChg>
        <pc:spChg chg="add mod">
          <ac:chgData name="Votana Srey" userId="13bee0a8-d205-440d-95f7-48959fdcf002" providerId="ADAL" clId="{0D44528D-A8F9-4657-BEDD-69DBD6A2190B}" dt="2023-02-13T06:02:54.273" v="3713" actId="1076"/>
          <ac:spMkLst>
            <pc:docMk/>
            <pc:sldMk cId="3742971938" sldId="2147470147"/>
            <ac:spMk id="37" creationId="{07BEEF89-D708-908C-EE6B-ADC92B00C7C6}"/>
          </ac:spMkLst>
        </pc:spChg>
        <pc:spChg chg="add mod">
          <ac:chgData name="Votana Srey" userId="13bee0a8-d205-440d-95f7-48959fdcf002" providerId="ADAL" clId="{0D44528D-A8F9-4657-BEDD-69DBD6A2190B}" dt="2023-02-13T06:02:54.273" v="3713" actId="1076"/>
          <ac:spMkLst>
            <pc:docMk/>
            <pc:sldMk cId="3742971938" sldId="2147470147"/>
            <ac:spMk id="38" creationId="{CE7960B9-1064-469B-3E24-9FCCCDD307C8}"/>
          </ac:spMkLst>
        </pc:spChg>
        <pc:spChg chg="add del mod">
          <ac:chgData name="Votana Srey" userId="13bee0a8-d205-440d-95f7-48959fdcf002" providerId="ADAL" clId="{0D44528D-A8F9-4657-BEDD-69DBD6A2190B}" dt="2023-02-13T06:02:54.273" v="3713" actId="1076"/>
          <ac:spMkLst>
            <pc:docMk/>
            <pc:sldMk cId="3742971938" sldId="2147470147"/>
            <ac:spMk id="39" creationId="{397BCB01-5267-426A-18EB-9992804F49D0}"/>
          </ac:spMkLst>
        </pc:spChg>
        <pc:spChg chg="add mod">
          <ac:chgData name="Votana Srey" userId="13bee0a8-d205-440d-95f7-48959fdcf002" providerId="ADAL" clId="{0D44528D-A8F9-4657-BEDD-69DBD6A2190B}" dt="2023-02-13T06:02:54.273" v="3713" actId="1076"/>
          <ac:spMkLst>
            <pc:docMk/>
            <pc:sldMk cId="3742971938" sldId="2147470147"/>
            <ac:spMk id="40" creationId="{25643728-370C-A91D-DDC2-6D3CEF4F76BA}"/>
          </ac:spMkLst>
        </pc:spChg>
        <pc:spChg chg="add mod">
          <ac:chgData name="Votana Srey" userId="13bee0a8-d205-440d-95f7-48959fdcf002" providerId="ADAL" clId="{0D44528D-A8F9-4657-BEDD-69DBD6A2190B}" dt="2023-02-13T06:02:54.273" v="3713" actId="1076"/>
          <ac:spMkLst>
            <pc:docMk/>
            <pc:sldMk cId="3742971938" sldId="2147470147"/>
            <ac:spMk id="41" creationId="{7ECEB35B-0225-EB5A-D125-C820EC365CBA}"/>
          </ac:spMkLst>
        </pc:spChg>
        <pc:spChg chg="add del mod">
          <ac:chgData name="Votana Srey" userId="13bee0a8-d205-440d-95f7-48959fdcf002" providerId="ADAL" clId="{0D44528D-A8F9-4657-BEDD-69DBD6A2190B}" dt="2023-02-13T04:02:12.505" v="3528" actId="478"/>
          <ac:spMkLst>
            <pc:docMk/>
            <pc:sldMk cId="3742971938" sldId="2147470147"/>
            <ac:spMk id="42" creationId="{C17789E1-EE9F-37AE-60C0-9907C25058BD}"/>
          </ac:spMkLst>
        </pc:spChg>
        <pc:spChg chg="add mod">
          <ac:chgData name="Votana Srey" userId="13bee0a8-d205-440d-95f7-48959fdcf002" providerId="ADAL" clId="{0D44528D-A8F9-4657-BEDD-69DBD6A2190B}" dt="2023-02-13T06:02:54.273" v="3713" actId="1076"/>
          <ac:spMkLst>
            <pc:docMk/>
            <pc:sldMk cId="3742971938" sldId="2147470147"/>
            <ac:spMk id="43" creationId="{2CA5FA03-92C6-4800-05D8-48E3FF580AA7}"/>
          </ac:spMkLst>
        </pc:spChg>
        <pc:spChg chg="add mod">
          <ac:chgData name="Votana Srey" userId="13bee0a8-d205-440d-95f7-48959fdcf002" providerId="ADAL" clId="{0D44528D-A8F9-4657-BEDD-69DBD6A2190B}" dt="2023-02-13T06:02:54.273" v="3713" actId="1076"/>
          <ac:spMkLst>
            <pc:docMk/>
            <pc:sldMk cId="3742971938" sldId="2147470147"/>
            <ac:spMk id="44" creationId="{5AFCA3C8-0146-5B8A-54DE-FC9F7E41190A}"/>
          </ac:spMkLst>
        </pc:spChg>
        <pc:spChg chg="del">
          <ac:chgData name="Votana Srey" userId="13bee0a8-d205-440d-95f7-48959fdcf002" providerId="ADAL" clId="{0D44528D-A8F9-4657-BEDD-69DBD6A2190B}" dt="2023-02-13T03:29:42.492" v="3024" actId="478"/>
          <ac:spMkLst>
            <pc:docMk/>
            <pc:sldMk cId="3742971938" sldId="2147470147"/>
            <ac:spMk id="51" creationId="{104AA0CC-FDDA-2ADA-3BDB-A6E047237F43}"/>
          </ac:spMkLst>
        </pc:spChg>
        <pc:spChg chg="del">
          <ac:chgData name="Votana Srey" userId="13bee0a8-d205-440d-95f7-48959fdcf002" providerId="ADAL" clId="{0D44528D-A8F9-4657-BEDD-69DBD6A2190B}" dt="2023-02-13T03:29:42.492" v="3024" actId="478"/>
          <ac:spMkLst>
            <pc:docMk/>
            <pc:sldMk cId="3742971938" sldId="2147470147"/>
            <ac:spMk id="59" creationId="{45330BCF-91B9-3BAA-10DE-5CE014D15438}"/>
          </ac:spMkLst>
        </pc:spChg>
        <pc:spChg chg="del">
          <ac:chgData name="Votana Srey" userId="13bee0a8-d205-440d-95f7-48959fdcf002" providerId="ADAL" clId="{0D44528D-A8F9-4657-BEDD-69DBD6A2190B}" dt="2023-02-13T03:29:42.492" v="3024" actId="478"/>
          <ac:spMkLst>
            <pc:docMk/>
            <pc:sldMk cId="3742971938" sldId="2147470147"/>
            <ac:spMk id="60" creationId="{4CBE2AD4-5F64-EC2F-41E4-FDB72A634D35}"/>
          </ac:spMkLst>
        </pc:spChg>
        <pc:spChg chg="del">
          <ac:chgData name="Votana Srey" userId="13bee0a8-d205-440d-95f7-48959fdcf002" providerId="ADAL" clId="{0D44528D-A8F9-4657-BEDD-69DBD6A2190B}" dt="2023-02-13T03:29:42.492" v="3024" actId="478"/>
          <ac:spMkLst>
            <pc:docMk/>
            <pc:sldMk cId="3742971938" sldId="2147470147"/>
            <ac:spMk id="61" creationId="{7AA1EB47-C58D-92E4-270E-AACF64797946}"/>
          </ac:spMkLst>
        </pc:spChg>
        <pc:spChg chg="del">
          <ac:chgData name="Votana Srey" userId="13bee0a8-d205-440d-95f7-48959fdcf002" providerId="ADAL" clId="{0D44528D-A8F9-4657-BEDD-69DBD6A2190B}" dt="2023-02-13T03:29:42.492" v="3024" actId="478"/>
          <ac:spMkLst>
            <pc:docMk/>
            <pc:sldMk cId="3742971938" sldId="2147470147"/>
            <ac:spMk id="62" creationId="{C0830C9B-A823-8465-965B-8FED1C8F4DC6}"/>
          </ac:spMkLst>
        </pc:spChg>
        <pc:spChg chg="del">
          <ac:chgData name="Votana Srey" userId="13bee0a8-d205-440d-95f7-48959fdcf002" providerId="ADAL" clId="{0D44528D-A8F9-4657-BEDD-69DBD6A2190B}" dt="2023-02-13T03:29:42.492" v="3024" actId="478"/>
          <ac:spMkLst>
            <pc:docMk/>
            <pc:sldMk cId="3742971938" sldId="2147470147"/>
            <ac:spMk id="64" creationId="{1DB7810C-484B-FA6A-4802-704E9CFF88FB}"/>
          </ac:spMkLst>
        </pc:spChg>
        <pc:spChg chg="del">
          <ac:chgData name="Votana Srey" userId="13bee0a8-d205-440d-95f7-48959fdcf002" providerId="ADAL" clId="{0D44528D-A8F9-4657-BEDD-69DBD6A2190B}" dt="2023-02-13T03:29:42.492" v="3024" actId="478"/>
          <ac:spMkLst>
            <pc:docMk/>
            <pc:sldMk cId="3742971938" sldId="2147470147"/>
            <ac:spMk id="65" creationId="{1C305A3B-4605-7164-8B86-D9AF44264621}"/>
          </ac:spMkLst>
        </pc:spChg>
        <pc:spChg chg="del">
          <ac:chgData name="Votana Srey" userId="13bee0a8-d205-440d-95f7-48959fdcf002" providerId="ADAL" clId="{0D44528D-A8F9-4657-BEDD-69DBD6A2190B}" dt="2023-02-13T03:29:42.492" v="3024" actId="478"/>
          <ac:spMkLst>
            <pc:docMk/>
            <pc:sldMk cId="3742971938" sldId="2147470147"/>
            <ac:spMk id="67" creationId="{5A03BB4C-3C0F-E535-3DC4-49030D36A070}"/>
          </ac:spMkLst>
        </pc:spChg>
        <pc:spChg chg="del">
          <ac:chgData name="Votana Srey" userId="13bee0a8-d205-440d-95f7-48959fdcf002" providerId="ADAL" clId="{0D44528D-A8F9-4657-BEDD-69DBD6A2190B}" dt="2023-02-13T03:29:42.492" v="3024" actId="478"/>
          <ac:spMkLst>
            <pc:docMk/>
            <pc:sldMk cId="3742971938" sldId="2147470147"/>
            <ac:spMk id="70" creationId="{4A2D91F9-BBD6-64CD-FB9A-77161598FA08}"/>
          </ac:spMkLst>
        </pc:spChg>
        <pc:spChg chg="del">
          <ac:chgData name="Votana Srey" userId="13bee0a8-d205-440d-95f7-48959fdcf002" providerId="ADAL" clId="{0D44528D-A8F9-4657-BEDD-69DBD6A2190B}" dt="2023-02-13T03:29:42.492" v="3024" actId="478"/>
          <ac:spMkLst>
            <pc:docMk/>
            <pc:sldMk cId="3742971938" sldId="2147470147"/>
            <ac:spMk id="71" creationId="{E5B27E03-92BF-926C-5E71-224A18AAF985}"/>
          </ac:spMkLst>
        </pc:spChg>
        <pc:spChg chg="del">
          <ac:chgData name="Votana Srey" userId="13bee0a8-d205-440d-95f7-48959fdcf002" providerId="ADAL" clId="{0D44528D-A8F9-4657-BEDD-69DBD6A2190B}" dt="2023-02-13T03:29:42.492" v="3024" actId="478"/>
          <ac:spMkLst>
            <pc:docMk/>
            <pc:sldMk cId="3742971938" sldId="2147470147"/>
            <ac:spMk id="73" creationId="{BEDC7E70-3BB5-7464-1A49-5C0437833733}"/>
          </ac:spMkLst>
        </pc:spChg>
        <pc:spChg chg="add mod">
          <ac:chgData name="Votana Srey" userId="13bee0a8-d205-440d-95f7-48959fdcf002" providerId="ADAL" clId="{0D44528D-A8F9-4657-BEDD-69DBD6A2190B}" dt="2023-02-13T06:02:54.273" v="3713" actId="1076"/>
          <ac:spMkLst>
            <pc:docMk/>
            <pc:sldMk cId="3742971938" sldId="2147470147"/>
            <ac:spMk id="129" creationId="{2E3A5F2D-B968-F95D-D8B2-8E8B9EF7D59B}"/>
          </ac:spMkLst>
        </pc:spChg>
        <pc:spChg chg="add mod">
          <ac:chgData name="Votana Srey" userId="13bee0a8-d205-440d-95f7-48959fdcf002" providerId="ADAL" clId="{0D44528D-A8F9-4657-BEDD-69DBD6A2190B}" dt="2023-02-13T06:02:54.273" v="3713" actId="1076"/>
          <ac:spMkLst>
            <pc:docMk/>
            <pc:sldMk cId="3742971938" sldId="2147470147"/>
            <ac:spMk id="130" creationId="{7EEBC4F4-405D-3A95-798F-63408B023732}"/>
          </ac:spMkLst>
        </pc:spChg>
        <pc:spChg chg="add mod">
          <ac:chgData name="Votana Srey" userId="13bee0a8-d205-440d-95f7-48959fdcf002" providerId="ADAL" clId="{0D44528D-A8F9-4657-BEDD-69DBD6A2190B}" dt="2023-02-13T06:02:54.273" v="3713" actId="1076"/>
          <ac:spMkLst>
            <pc:docMk/>
            <pc:sldMk cId="3742971938" sldId="2147470147"/>
            <ac:spMk id="131" creationId="{E5B302FD-96AE-8E39-F82E-11F92836B4EB}"/>
          </ac:spMkLst>
        </pc:spChg>
        <pc:spChg chg="add mod">
          <ac:chgData name="Votana Srey" userId="13bee0a8-d205-440d-95f7-48959fdcf002" providerId="ADAL" clId="{0D44528D-A8F9-4657-BEDD-69DBD6A2190B}" dt="2023-02-13T06:02:54.273" v="3713" actId="1076"/>
          <ac:spMkLst>
            <pc:docMk/>
            <pc:sldMk cId="3742971938" sldId="2147470147"/>
            <ac:spMk id="149" creationId="{A047C9B1-B1C6-1626-3926-6A234B6D2279}"/>
          </ac:spMkLst>
        </pc:spChg>
        <pc:spChg chg="add mod">
          <ac:chgData name="Votana Srey" userId="13bee0a8-d205-440d-95f7-48959fdcf002" providerId="ADAL" clId="{0D44528D-A8F9-4657-BEDD-69DBD6A2190B}" dt="2023-02-13T06:02:54.273" v="3713" actId="1076"/>
          <ac:spMkLst>
            <pc:docMk/>
            <pc:sldMk cId="3742971938" sldId="2147470147"/>
            <ac:spMk id="152" creationId="{1D557021-53F7-2BF0-BA4A-8EB729183EB0}"/>
          </ac:spMkLst>
        </pc:spChg>
        <pc:grpChg chg="del">
          <ac:chgData name="Votana Srey" userId="13bee0a8-d205-440d-95f7-48959fdcf002" providerId="ADAL" clId="{0D44528D-A8F9-4657-BEDD-69DBD6A2190B}" dt="2023-02-13T03:29:42.492" v="3024" actId="478"/>
          <ac:grpSpMkLst>
            <pc:docMk/>
            <pc:sldMk cId="3742971938" sldId="2147470147"/>
            <ac:grpSpMk id="24" creationId="{7014BE07-7597-720B-E330-B697577FB88C}"/>
          </ac:grpSpMkLst>
        </pc:grpChg>
        <pc:picChg chg="del">
          <ac:chgData name="Votana Srey" userId="13bee0a8-d205-440d-95f7-48959fdcf002" providerId="ADAL" clId="{0D44528D-A8F9-4657-BEDD-69DBD6A2190B}" dt="2023-02-13T03:29:42.492" v="3024" actId="478"/>
          <ac:picMkLst>
            <pc:docMk/>
            <pc:sldMk cId="3742971938" sldId="2147470147"/>
            <ac:picMk id="9" creationId="{BF1C81EF-1290-703C-D456-62D1E5DD74A8}"/>
          </ac:picMkLst>
        </pc:picChg>
        <pc:picChg chg="del">
          <ac:chgData name="Votana Srey" userId="13bee0a8-d205-440d-95f7-48959fdcf002" providerId="ADAL" clId="{0D44528D-A8F9-4657-BEDD-69DBD6A2190B}" dt="2023-02-13T03:29:42.492" v="3024" actId="478"/>
          <ac:picMkLst>
            <pc:docMk/>
            <pc:sldMk cId="3742971938" sldId="2147470147"/>
            <ac:picMk id="50" creationId="{09ED17A7-187B-792F-1F6E-961906B9097F}"/>
          </ac:picMkLst>
        </pc:picChg>
        <pc:picChg chg="del">
          <ac:chgData name="Votana Srey" userId="13bee0a8-d205-440d-95f7-48959fdcf002" providerId="ADAL" clId="{0D44528D-A8F9-4657-BEDD-69DBD6A2190B}" dt="2023-02-13T03:29:42.492" v="3024" actId="478"/>
          <ac:picMkLst>
            <pc:docMk/>
            <pc:sldMk cId="3742971938" sldId="2147470147"/>
            <ac:picMk id="58" creationId="{54285FF7-DA70-B78F-0272-6C61DA077B49}"/>
          </ac:picMkLst>
        </pc:picChg>
        <pc:picChg chg="del">
          <ac:chgData name="Votana Srey" userId="13bee0a8-d205-440d-95f7-48959fdcf002" providerId="ADAL" clId="{0D44528D-A8F9-4657-BEDD-69DBD6A2190B}" dt="2023-02-13T03:29:42.492" v="3024" actId="478"/>
          <ac:picMkLst>
            <pc:docMk/>
            <pc:sldMk cId="3742971938" sldId="2147470147"/>
            <ac:picMk id="63" creationId="{2606C88F-B675-A3D2-2F88-4F740F0CE704}"/>
          </ac:picMkLst>
        </pc:picChg>
        <pc:picChg chg="del">
          <ac:chgData name="Votana Srey" userId="13bee0a8-d205-440d-95f7-48959fdcf002" providerId="ADAL" clId="{0D44528D-A8F9-4657-BEDD-69DBD6A2190B}" dt="2023-02-13T03:29:42.492" v="3024" actId="478"/>
          <ac:picMkLst>
            <pc:docMk/>
            <pc:sldMk cId="3742971938" sldId="2147470147"/>
            <ac:picMk id="66" creationId="{5D00FC7E-5A56-42D9-0F70-971791ED03EC}"/>
          </ac:picMkLst>
        </pc:picChg>
        <pc:picChg chg="del">
          <ac:chgData name="Votana Srey" userId="13bee0a8-d205-440d-95f7-48959fdcf002" providerId="ADAL" clId="{0D44528D-A8F9-4657-BEDD-69DBD6A2190B}" dt="2023-02-13T03:29:42.492" v="3024" actId="478"/>
          <ac:picMkLst>
            <pc:docMk/>
            <pc:sldMk cId="3742971938" sldId="2147470147"/>
            <ac:picMk id="72" creationId="{D9CAF861-5F4A-6B7F-9CE0-0B0E0F64A519}"/>
          </ac:picMkLst>
        </pc:picChg>
        <pc:cxnChg chg="add mod">
          <ac:chgData name="Votana Srey" userId="13bee0a8-d205-440d-95f7-48959fdcf002" providerId="ADAL" clId="{0D44528D-A8F9-4657-BEDD-69DBD6A2190B}" dt="2023-02-13T06:02:54.273" v="3713" actId="1076"/>
          <ac:cxnSpMkLst>
            <pc:docMk/>
            <pc:sldMk cId="3742971938" sldId="2147470147"/>
            <ac:cxnSpMk id="46" creationId="{602F906D-80C7-7D46-5BA1-BF7D0A0749FB}"/>
          </ac:cxnSpMkLst>
        </pc:cxnChg>
        <pc:cxnChg chg="add mod">
          <ac:chgData name="Votana Srey" userId="13bee0a8-d205-440d-95f7-48959fdcf002" providerId="ADAL" clId="{0D44528D-A8F9-4657-BEDD-69DBD6A2190B}" dt="2023-02-13T06:02:54.273" v="3713" actId="1076"/>
          <ac:cxnSpMkLst>
            <pc:docMk/>
            <pc:sldMk cId="3742971938" sldId="2147470147"/>
            <ac:cxnSpMk id="49" creationId="{7E9A6057-053C-9FC0-A8ED-20057A897CD7}"/>
          </ac:cxnSpMkLst>
        </pc:cxnChg>
        <pc:cxnChg chg="add del mod">
          <ac:chgData name="Votana Srey" userId="13bee0a8-d205-440d-95f7-48959fdcf002" providerId="ADAL" clId="{0D44528D-A8F9-4657-BEDD-69DBD6A2190B}" dt="2023-02-13T04:05:01.233" v="3585" actId="478"/>
          <ac:cxnSpMkLst>
            <pc:docMk/>
            <pc:sldMk cId="3742971938" sldId="2147470147"/>
            <ac:cxnSpMk id="53" creationId="{9A388885-1F17-9D7D-8474-E571FF79A4AA}"/>
          </ac:cxnSpMkLst>
        </pc:cxnChg>
        <pc:cxnChg chg="add mod">
          <ac:chgData name="Votana Srey" userId="13bee0a8-d205-440d-95f7-48959fdcf002" providerId="ADAL" clId="{0D44528D-A8F9-4657-BEDD-69DBD6A2190B}" dt="2023-02-13T06:02:54.273" v="3713" actId="1076"/>
          <ac:cxnSpMkLst>
            <pc:docMk/>
            <pc:sldMk cId="3742971938" sldId="2147470147"/>
            <ac:cxnSpMk id="55" creationId="{8837F632-5276-16D2-A52F-ECA861077AD2}"/>
          </ac:cxnSpMkLst>
        </pc:cxnChg>
        <pc:cxnChg chg="add mod">
          <ac:chgData name="Votana Srey" userId="13bee0a8-d205-440d-95f7-48959fdcf002" providerId="ADAL" clId="{0D44528D-A8F9-4657-BEDD-69DBD6A2190B}" dt="2023-02-13T06:02:54.273" v="3713" actId="1076"/>
          <ac:cxnSpMkLst>
            <pc:docMk/>
            <pc:sldMk cId="3742971938" sldId="2147470147"/>
            <ac:cxnSpMk id="57" creationId="{D28B75DC-A9CB-E728-E157-13918D5DC0B9}"/>
          </ac:cxnSpMkLst>
        </pc:cxnChg>
        <pc:cxnChg chg="add del mod">
          <ac:chgData name="Votana Srey" userId="13bee0a8-d205-440d-95f7-48959fdcf002" providerId="ADAL" clId="{0D44528D-A8F9-4657-BEDD-69DBD6A2190B}" dt="2023-02-13T04:05:28.880" v="3589" actId="11529"/>
          <ac:cxnSpMkLst>
            <pc:docMk/>
            <pc:sldMk cId="3742971938" sldId="2147470147"/>
            <ac:cxnSpMk id="69" creationId="{17B07F58-2F42-FBEF-06DB-6B1D4AE8B5A4}"/>
          </ac:cxnSpMkLst>
        </pc:cxnChg>
        <pc:cxnChg chg="add mod">
          <ac:chgData name="Votana Srey" userId="13bee0a8-d205-440d-95f7-48959fdcf002" providerId="ADAL" clId="{0D44528D-A8F9-4657-BEDD-69DBD6A2190B}" dt="2023-02-13T06:02:54.273" v="3713" actId="1076"/>
          <ac:cxnSpMkLst>
            <pc:docMk/>
            <pc:sldMk cId="3742971938" sldId="2147470147"/>
            <ac:cxnSpMk id="75" creationId="{159E1332-02F0-CD60-1C58-5B2A3CF6E887}"/>
          </ac:cxnSpMkLst>
        </pc:cxnChg>
        <pc:cxnChg chg="add del mod">
          <ac:chgData name="Votana Srey" userId="13bee0a8-d205-440d-95f7-48959fdcf002" providerId="ADAL" clId="{0D44528D-A8F9-4657-BEDD-69DBD6A2190B}" dt="2023-02-13T04:05:40.955" v="3592" actId="11529"/>
          <ac:cxnSpMkLst>
            <pc:docMk/>
            <pc:sldMk cId="3742971938" sldId="2147470147"/>
            <ac:cxnSpMk id="77" creationId="{D9220226-7A3A-BB50-90C9-7F93B3380B6B}"/>
          </ac:cxnSpMkLst>
        </pc:cxnChg>
        <pc:cxnChg chg="add del mod">
          <ac:chgData name="Votana Srey" userId="13bee0a8-d205-440d-95f7-48959fdcf002" providerId="ADAL" clId="{0D44528D-A8F9-4657-BEDD-69DBD6A2190B}" dt="2023-02-13T04:08:48.632" v="3619" actId="478"/>
          <ac:cxnSpMkLst>
            <pc:docMk/>
            <pc:sldMk cId="3742971938" sldId="2147470147"/>
            <ac:cxnSpMk id="79" creationId="{E86741DC-B23A-1511-C1C4-1766AEC2CC0A}"/>
          </ac:cxnSpMkLst>
        </pc:cxnChg>
        <pc:cxnChg chg="add del mod">
          <ac:chgData name="Votana Srey" userId="13bee0a8-d205-440d-95f7-48959fdcf002" providerId="ADAL" clId="{0D44528D-A8F9-4657-BEDD-69DBD6A2190B}" dt="2023-02-13T04:08:52.626" v="3621" actId="478"/>
          <ac:cxnSpMkLst>
            <pc:docMk/>
            <pc:sldMk cId="3742971938" sldId="2147470147"/>
            <ac:cxnSpMk id="81" creationId="{ADD5010C-4983-A2E3-E822-106A62A5826B}"/>
          </ac:cxnSpMkLst>
        </pc:cxnChg>
        <pc:cxnChg chg="add del mod">
          <ac:chgData name="Votana Srey" userId="13bee0a8-d205-440d-95f7-48959fdcf002" providerId="ADAL" clId="{0D44528D-A8F9-4657-BEDD-69DBD6A2190B}" dt="2023-02-13T04:08:50.726" v="3620" actId="478"/>
          <ac:cxnSpMkLst>
            <pc:docMk/>
            <pc:sldMk cId="3742971938" sldId="2147470147"/>
            <ac:cxnSpMk id="83" creationId="{926A50C7-C102-9498-BF75-31343E44F053}"/>
          </ac:cxnSpMkLst>
        </pc:cxnChg>
        <pc:cxnChg chg="add mod">
          <ac:chgData name="Votana Srey" userId="13bee0a8-d205-440d-95f7-48959fdcf002" providerId="ADAL" clId="{0D44528D-A8F9-4657-BEDD-69DBD6A2190B}" dt="2023-02-13T06:02:54.273" v="3713" actId="1076"/>
          <ac:cxnSpMkLst>
            <pc:docMk/>
            <pc:sldMk cId="3742971938" sldId="2147470147"/>
            <ac:cxnSpMk id="85" creationId="{4FDC970F-FA9E-3FAA-C189-C4E16CFA6733}"/>
          </ac:cxnSpMkLst>
        </pc:cxnChg>
        <pc:cxnChg chg="add mod">
          <ac:chgData name="Votana Srey" userId="13bee0a8-d205-440d-95f7-48959fdcf002" providerId="ADAL" clId="{0D44528D-A8F9-4657-BEDD-69DBD6A2190B}" dt="2023-02-13T06:02:54.273" v="3713" actId="1076"/>
          <ac:cxnSpMkLst>
            <pc:docMk/>
            <pc:sldMk cId="3742971938" sldId="2147470147"/>
            <ac:cxnSpMk id="87" creationId="{E3E7B0F8-6D84-8BA0-B161-F9DA6B4C12C9}"/>
          </ac:cxnSpMkLst>
        </pc:cxnChg>
        <pc:cxnChg chg="add del mod">
          <ac:chgData name="Votana Srey" userId="13bee0a8-d205-440d-95f7-48959fdcf002" providerId="ADAL" clId="{0D44528D-A8F9-4657-BEDD-69DBD6A2190B}" dt="2023-02-13T04:09:21.727" v="3625" actId="478"/>
          <ac:cxnSpMkLst>
            <pc:docMk/>
            <pc:sldMk cId="3742971938" sldId="2147470147"/>
            <ac:cxnSpMk id="89" creationId="{7C9C1088-1DEB-E890-23CC-1384D3E7ADAA}"/>
          </ac:cxnSpMkLst>
        </pc:cxnChg>
        <pc:cxnChg chg="add mod">
          <ac:chgData name="Votana Srey" userId="13bee0a8-d205-440d-95f7-48959fdcf002" providerId="ADAL" clId="{0D44528D-A8F9-4657-BEDD-69DBD6A2190B}" dt="2023-02-13T06:02:54.273" v="3713" actId="1076"/>
          <ac:cxnSpMkLst>
            <pc:docMk/>
            <pc:sldMk cId="3742971938" sldId="2147470147"/>
            <ac:cxnSpMk id="91" creationId="{8A759DFB-A41F-0339-404D-DB5E65F76F50}"/>
          </ac:cxnSpMkLst>
        </pc:cxnChg>
        <pc:cxnChg chg="add mod">
          <ac:chgData name="Votana Srey" userId="13bee0a8-d205-440d-95f7-48959fdcf002" providerId="ADAL" clId="{0D44528D-A8F9-4657-BEDD-69DBD6A2190B}" dt="2023-02-13T06:02:54.273" v="3713" actId="1076"/>
          <ac:cxnSpMkLst>
            <pc:docMk/>
            <pc:sldMk cId="3742971938" sldId="2147470147"/>
            <ac:cxnSpMk id="93" creationId="{CF4FE45B-5AB0-8E2B-C53D-4AAB1E6A50CD}"/>
          </ac:cxnSpMkLst>
        </pc:cxnChg>
        <pc:cxnChg chg="add mod">
          <ac:chgData name="Votana Srey" userId="13bee0a8-d205-440d-95f7-48959fdcf002" providerId="ADAL" clId="{0D44528D-A8F9-4657-BEDD-69DBD6A2190B}" dt="2023-02-13T06:02:54.273" v="3713" actId="1076"/>
          <ac:cxnSpMkLst>
            <pc:docMk/>
            <pc:sldMk cId="3742971938" sldId="2147470147"/>
            <ac:cxnSpMk id="95" creationId="{5E271107-10FC-AD66-D2FF-B581A15C8519}"/>
          </ac:cxnSpMkLst>
        </pc:cxnChg>
        <pc:cxnChg chg="add del mod">
          <ac:chgData name="Votana Srey" userId="13bee0a8-d205-440d-95f7-48959fdcf002" providerId="ADAL" clId="{0D44528D-A8F9-4657-BEDD-69DBD6A2190B}" dt="2023-02-13T06:02:54.273" v="3713" actId="1076"/>
          <ac:cxnSpMkLst>
            <pc:docMk/>
            <pc:sldMk cId="3742971938" sldId="2147470147"/>
            <ac:cxnSpMk id="97" creationId="{95503A3F-DA5F-3944-FFBB-131DD05FB143}"/>
          </ac:cxnSpMkLst>
        </pc:cxnChg>
        <pc:cxnChg chg="add mod">
          <ac:chgData name="Votana Srey" userId="13bee0a8-d205-440d-95f7-48959fdcf002" providerId="ADAL" clId="{0D44528D-A8F9-4657-BEDD-69DBD6A2190B}" dt="2023-02-13T06:02:54.273" v="3713" actId="1076"/>
          <ac:cxnSpMkLst>
            <pc:docMk/>
            <pc:sldMk cId="3742971938" sldId="2147470147"/>
            <ac:cxnSpMk id="99" creationId="{66A29047-54B2-5DEB-D798-FD986F15C5BA}"/>
          </ac:cxnSpMkLst>
        </pc:cxnChg>
        <pc:cxnChg chg="add mod">
          <ac:chgData name="Votana Srey" userId="13bee0a8-d205-440d-95f7-48959fdcf002" providerId="ADAL" clId="{0D44528D-A8F9-4657-BEDD-69DBD6A2190B}" dt="2023-02-13T06:02:54.273" v="3713" actId="1076"/>
          <ac:cxnSpMkLst>
            <pc:docMk/>
            <pc:sldMk cId="3742971938" sldId="2147470147"/>
            <ac:cxnSpMk id="101" creationId="{40195256-EC45-D410-0F31-1232A028F394}"/>
          </ac:cxnSpMkLst>
        </pc:cxnChg>
        <pc:cxnChg chg="add del mod">
          <ac:chgData name="Votana Srey" userId="13bee0a8-d205-440d-95f7-48959fdcf002" providerId="ADAL" clId="{0D44528D-A8F9-4657-BEDD-69DBD6A2190B}" dt="2023-02-13T04:07:03.914" v="3606" actId="11529"/>
          <ac:cxnSpMkLst>
            <pc:docMk/>
            <pc:sldMk cId="3742971938" sldId="2147470147"/>
            <ac:cxnSpMk id="103" creationId="{EC3F87E7-74D0-AF7E-596D-87138E3989A6}"/>
          </ac:cxnSpMkLst>
        </pc:cxnChg>
        <pc:cxnChg chg="add mod">
          <ac:chgData name="Votana Srey" userId="13bee0a8-d205-440d-95f7-48959fdcf002" providerId="ADAL" clId="{0D44528D-A8F9-4657-BEDD-69DBD6A2190B}" dt="2023-02-13T06:02:54.273" v="3713" actId="1076"/>
          <ac:cxnSpMkLst>
            <pc:docMk/>
            <pc:sldMk cId="3742971938" sldId="2147470147"/>
            <ac:cxnSpMk id="105" creationId="{BF2C9F42-37FF-FDC8-0265-DF1951938614}"/>
          </ac:cxnSpMkLst>
        </pc:cxnChg>
        <pc:cxnChg chg="add mod">
          <ac:chgData name="Votana Srey" userId="13bee0a8-d205-440d-95f7-48959fdcf002" providerId="ADAL" clId="{0D44528D-A8F9-4657-BEDD-69DBD6A2190B}" dt="2023-02-13T06:02:54.273" v="3713" actId="1076"/>
          <ac:cxnSpMkLst>
            <pc:docMk/>
            <pc:sldMk cId="3742971938" sldId="2147470147"/>
            <ac:cxnSpMk id="107" creationId="{76A463DB-4F61-82E0-9055-1CCECADE86DC}"/>
          </ac:cxnSpMkLst>
        </pc:cxnChg>
        <pc:cxnChg chg="add del mod">
          <ac:chgData name="Votana Srey" userId="13bee0a8-d205-440d-95f7-48959fdcf002" providerId="ADAL" clId="{0D44528D-A8F9-4657-BEDD-69DBD6A2190B}" dt="2023-02-13T04:08:36.600" v="3616" actId="478"/>
          <ac:cxnSpMkLst>
            <pc:docMk/>
            <pc:sldMk cId="3742971938" sldId="2147470147"/>
            <ac:cxnSpMk id="109" creationId="{E352CD61-0B71-DF32-8B63-347121D9EA55}"/>
          </ac:cxnSpMkLst>
        </pc:cxnChg>
        <pc:cxnChg chg="add del mod">
          <ac:chgData name="Votana Srey" userId="13bee0a8-d205-440d-95f7-48959fdcf002" providerId="ADAL" clId="{0D44528D-A8F9-4657-BEDD-69DBD6A2190B}" dt="2023-02-13T04:08:38.333" v="3617" actId="478"/>
          <ac:cxnSpMkLst>
            <pc:docMk/>
            <pc:sldMk cId="3742971938" sldId="2147470147"/>
            <ac:cxnSpMk id="111" creationId="{8AE9103F-EC19-9FEC-2680-B96C322CD564}"/>
          </ac:cxnSpMkLst>
        </pc:cxnChg>
        <pc:cxnChg chg="add del mod">
          <ac:chgData name="Votana Srey" userId="13bee0a8-d205-440d-95f7-48959fdcf002" providerId="ADAL" clId="{0D44528D-A8F9-4657-BEDD-69DBD6A2190B}" dt="2023-02-13T04:08:40.645" v="3618" actId="478"/>
          <ac:cxnSpMkLst>
            <pc:docMk/>
            <pc:sldMk cId="3742971938" sldId="2147470147"/>
            <ac:cxnSpMk id="113" creationId="{B8E52202-879D-A4F0-3B37-FD3B1DD4D873}"/>
          </ac:cxnSpMkLst>
        </pc:cxnChg>
        <pc:cxnChg chg="add mod">
          <ac:chgData name="Votana Srey" userId="13bee0a8-d205-440d-95f7-48959fdcf002" providerId="ADAL" clId="{0D44528D-A8F9-4657-BEDD-69DBD6A2190B}" dt="2023-02-13T06:02:54.273" v="3713" actId="1076"/>
          <ac:cxnSpMkLst>
            <pc:docMk/>
            <pc:sldMk cId="3742971938" sldId="2147470147"/>
            <ac:cxnSpMk id="118" creationId="{C2590C04-CED6-A5D6-57D9-A24CBE97B1A2}"/>
          </ac:cxnSpMkLst>
        </pc:cxnChg>
        <pc:cxnChg chg="add mod">
          <ac:chgData name="Votana Srey" userId="13bee0a8-d205-440d-95f7-48959fdcf002" providerId="ADAL" clId="{0D44528D-A8F9-4657-BEDD-69DBD6A2190B}" dt="2023-02-13T06:02:54.273" v="3713" actId="1076"/>
          <ac:cxnSpMkLst>
            <pc:docMk/>
            <pc:sldMk cId="3742971938" sldId="2147470147"/>
            <ac:cxnSpMk id="120" creationId="{04DF232F-345F-A667-5FF6-5FE10E3838A8}"/>
          </ac:cxnSpMkLst>
        </pc:cxnChg>
        <pc:cxnChg chg="add mod">
          <ac:chgData name="Votana Srey" userId="13bee0a8-d205-440d-95f7-48959fdcf002" providerId="ADAL" clId="{0D44528D-A8F9-4657-BEDD-69DBD6A2190B}" dt="2023-02-13T06:02:54.273" v="3713" actId="1076"/>
          <ac:cxnSpMkLst>
            <pc:docMk/>
            <pc:sldMk cId="3742971938" sldId="2147470147"/>
            <ac:cxnSpMk id="122" creationId="{1ACD4996-46A8-0573-3DC9-ABBDE4C63DC6}"/>
          </ac:cxnSpMkLst>
        </pc:cxnChg>
        <pc:cxnChg chg="add mod">
          <ac:chgData name="Votana Srey" userId="13bee0a8-d205-440d-95f7-48959fdcf002" providerId="ADAL" clId="{0D44528D-A8F9-4657-BEDD-69DBD6A2190B}" dt="2023-02-13T06:02:54.273" v="3713" actId="1076"/>
          <ac:cxnSpMkLst>
            <pc:docMk/>
            <pc:sldMk cId="3742971938" sldId="2147470147"/>
            <ac:cxnSpMk id="124" creationId="{123CC454-AF41-DD35-98B9-7774BB5683E8}"/>
          </ac:cxnSpMkLst>
        </pc:cxnChg>
        <pc:cxnChg chg="add mod">
          <ac:chgData name="Votana Srey" userId="13bee0a8-d205-440d-95f7-48959fdcf002" providerId="ADAL" clId="{0D44528D-A8F9-4657-BEDD-69DBD6A2190B}" dt="2023-02-13T06:02:54.273" v="3713" actId="1076"/>
          <ac:cxnSpMkLst>
            <pc:docMk/>
            <pc:sldMk cId="3742971938" sldId="2147470147"/>
            <ac:cxnSpMk id="134" creationId="{14AE5EA2-0517-E3D8-AAD4-C145EE54732E}"/>
          </ac:cxnSpMkLst>
        </pc:cxnChg>
        <pc:cxnChg chg="add mod">
          <ac:chgData name="Votana Srey" userId="13bee0a8-d205-440d-95f7-48959fdcf002" providerId="ADAL" clId="{0D44528D-A8F9-4657-BEDD-69DBD6A2190B}" dt="2023-02-13T06:02:54.273" v="3713" actId="1076"/>
          <ac:cxnSpMkLst>
            <pc:docMk/>
            <pc:sldMk cId="3742971938" sldId="2147470147"/>
            <ac:cxnSpMk id="136" creationId="{675A552D-2ADB-28B3-7C0C-80824561238C}"/>
          </ac:cxnSpMkLst>
        </pc:cxnChg>
        <pc:cxnChg chg="add mod">
          <ac:chgData name="Votana Srey" userId="13bee0a8-d205-440d-95f7-48959fdcf002" providerId="ADAL" clId="{0D44528D-A8F9-4657-BEDD-69DBD6A2190B}" dt="2023-02-13T06:02:54.273" v="3713" actId="1076"/>
          <ac:cxnSpMkLst>
            <pc:docMk/>
            <pc:sldMk cId="3742971938" sldId="2147470147"/>
            <ac:cxnSpMk id="139" creationId="{B4EACEA4-9547-3E54-65E7-906BAACB455C}"/>
          </ac:cxnSpMkLst>
        </pc:cxnChg>
        <pc:cxnChg chg="add mod">
          <ac:chgData name="Votana Srey" userId="13bee0a8-d205-440d-95f7-48959fdcf002" providerId="ADAL" clId="{0D44528D-A8F9-4657-BEDD-69DBD6A2190B}" dt="2023-02-13T06:02:54.273" v="3713" actId="1076"/>
          <ac:cxnSpMkLst>
            <pc:docMk/>
            <pc:sldMk cId="3742971938" sldId="2147470147"/>
            <ac:cxnSpMk id="141" creationId="{33966FAF-EFEE-CC81-ADAF-49D0EB371F85}"/>
          </ac:cxnSpMkLst>
        </pc:cxnChg>
        <pc:cxnChg chg="add mod">
          <ac:chgData name="Votana Srey" userId="13bee0a8-d205-440d-95f7-48959fdcf002" providerId="ADAL" clId="{0D44528D-A8F9-4657-BEDD-69DBD6A2190B}" dt="2023-02-13T06:02:54.273" v="3713" actId="1076"/>
          <ac:cxnSpMkLst>
            <pc:docMk/>
            <pc:sldMk cId="3742971938" sldId="2147470147"/>
            <ac:cxnSpMk id="145" creationId="{4E9675B6-24BF-FF96-1159-2879607BB817}"/>
          </ac:cxnSpMkLst>
        </pc:cxnChg>
        <pc:cxnChg chg="add mod">
          <ac:chgData name="Votana Srey" userId="13bee0a8-d205-440d-95f7-48959fdcf002" providerId="ADAL" clId="{0D44528D-A8F9-4657-BEDD-69DBD6A2190B}" dt="2023-02-13T06:02:54.273" v="3713" actId="1076"/>
          <ac:cxnSpMkLst>
            <pc:docMk/>
            <pc:sldMk cId="3742971938" sldId="2147470147"/>
            <ac:cxnSpMk id="147" creationId="{1C12506A-39D7-B192-B62E-4C2F67A80D6C}"/>
          </ac:cxnSpMkLst>
        </pc:cxnChg>
        <pc:cxnChg chg="add mod">
          <ac:chgData name="Votana Srey" userId="13bee0a8-d205-440d-95f7-48959fdcf002" providerId="ADAL" clId="{0D44528D-A8F9-4657-BEDD-69DBD6A2190B}" dt="2023-02-13T06:02:54.273" v="3713" actId="1076"/>
          <ac:cxnSpMkLst>
            <pc:docMk/>
            <pc:sldMk cId="3742971938" sldId="2147470147"/>
            <ac:cxnSpMk id="151" creationId="{6B8B1BC4-6FE1-87D7-5C7A-C46B0492EA45}"/>
          </ac:cxnSpMkLst>
        </pc:cxnChg>
        <pc:cxnChg chg="add mod">
          <ac:chgData name="Votana Srey" userId="13bee0a8-d205-440d-95f7-48959fdcf002" providerId="ADAL" clId="{0D44528D-A8F9-4657-BEDD-69DBD6A2190B}" dt="2023-02-13T06:02:54.273" v="3713" actId="1076"/>
          <ac:cxnSpMkLst>
            <pc:docMk/>
            <pc:sldMk cId="3742971938" sldId="2147470147"/>
            <ac:cxnSpMk id="154" creationId="{EA08AA72-21D4-27FC-AB79-D73C70C56376}"/>
          </ac:cxnSpMkLst>
        </pc:cxnChg>
      </pc:sldChg>
      <pc:sldChg chg="modSp add mod">
        <pc:chgData name="Votana Srey" userId="13bee0a8-d205-440d-95f7-48959fdcf002" providerId="ADAL" clId="{0D44528D-A8F9-4657-BEDD-69DBD6A2190B}" dt="2023-02-17T15:30:34.761" v="3743" actId="207"/>
        <pc:sldMkLst>
          <pc:docMk/>
          <pc:sldMk cId="1637898337" sldId="2147470148"/>
        </pc:sldMkLst>
        <pc:spChg chg="mod">
          <ac:chgData name="Votana Srey" userId="13bee0a8-d205-440d-95f7-48959fdcf002" providerId="ADAL" clId="{0D44528D-A8F9-4657-BEDD-69DBD6A2190B}" dt="2023-02-17T15:28:38.104" v="3730" actId="207"/>
          <ac:spMkLst>
            <pc:docMk/>
            <pc:sldMk cId="1637898337" sldId="2147470148"/>
            <ac:spMk id="18" creationId="{E000606E-A990-AF2E-E803-68681E847B6C}"/>
          </ac:spMkLst>
        </pc:spChg>
        <pc:spChg chg="mod">
          <ac:chgData name="Votana Srey" userId="13bee0a8-d205-440d-95f7-48959fdcf002" providerId="ADAL" clId="{0D44528D-A8F9-4657-BEDD-69DBD6A2190B}" dt="2023-02-17T15:29:12.196" v="3736" actId="207"/>
          <ac:spMkLst>
            <pc:docMk/>
            <pc:sldMk cId="1637898337" sldId="2147470148"/>
            <ac:spMk id="20" creationId="{999CBAD0-2146-0190-412F-3794E4AE91FE}"/>
          </ac:spMkLst>
        </pc:spChg>
        <pc:spChg chg="mod">
          <ac:chgData name="Votana Srey" userId="13bee0a8-d205-440d-95f7-48959fdcf002" providerId="ADAL" clId="{0D44528D-A8F9-4657-BEDD-69DBD6A2190B}" dt="2023-02-17T15:28:59.369" v="3735" actId="207"/>
          <ac:spMkLst>
            <pc:docMk/>
            <pc:sldMk cId="1637898337" sldId="2147470148"/>
            <ac:spMk id="21" creationId="{7339EDFD-58AC-9570-B3E5-09556D86891D}"/>
          </ac:spMkLst>
        </pc:spChg>
        <pc:spChg chg="mod">
          <ac:chgData name="Votana Srey" userId="13bee0a8-d205-440d-95f7-48959fdcf002" providerId="ADAL" clId="{0D44528D-A8F9-4657-BEDD-69DBD6A2190B}" dt="2023-02-17T15:28:19.436" v="3728" actId="207"/>
          <ac:spMkLst>
            <pc:docMk/>
            <pc:sldMk cId="1637898337" sldId="2147470148"/>
            <ac:spMk id="22" creationId="{3D47F833-1B2F-9086-C1E8-53C90B977603}"/>
          </ac:spMkLst>
        </pc:spChg>
        <pc:spChg chg="mod">
          <ac:chgData name="Votana Srey" userId="13bee0a8-d205-440d-95f7-48959fdcf002" providerId="ADAL" clId="{0D44528D-A8F9-4657-BEDD-69DBD6A2190B}" dt="2023-02-17T15:28:19.436" v="3728" actId="207"/>
          <ac:spMkLst>
            <pc:docMk/>
            <pc:sldMk cId="1637898337" sldId="2147470148"/>
            <ac:spMk id="37" creationId="{07BEEF89-D708-908C-EE6B-ADC92B00C7C6}"/>
          </ac:spMkLst>
        </pc:spChg>
        <pc:spChg chg="mod">
          <ac:chgData name="Votana Srey" userId="13bee0a8-d205-440d-95f7-48959fdcf002" providerId="ADAL" clId="{0D44528D-A8F9-4657-BEDD-69DBD6A2190B}" dt="2023-02-17T15:30:34.761" v="3743" actId="207"/>
          <ac:spMkLst>
            <pc:docMk/>
            <pc:sldMk cId="1637898337" sldId="2147470148"/>
            <ac:spMk id="38" creationId="{CE7960B9-1064-469B-3E24-9FCCCDD307C8}"/>
          </ac:spMkLst>
        </pc:spChg>
        <pc:spChg chg="mod">
          <ac:chgData name="Votana Srey" userId="13bee0a8-d205-440d-95f7-48959fdcf002" providerId="ADAL" clId="{0D44528D-A8F9-4657-BEDD-69DBD6A2190B}" dt="2023-02-17T15:28:19.436" v="3728" actId="207"/>
          <ac:spMkLst>
            <pc:docMk/>
            <pc:sldMk cId="1637898337" sldId="2147470148"/>
            <ac:spMk id="40" creationId="{25643728-370C-A91D-DDC2-6D3CEF4F76BA}"/>
          </ac:spMkLst>
        </pc:spChg>
        <pc:spChg chg="mod">
          <ac:chgData name="Votana Srey" userId="13bee0a8-d205-440d-95f7-48959fdcf002" providerId="ADAL" clId="{0D44528D-A8F9-4657-BEDD-69DBD6A2190B}" dt="2023-02-17T15:30:01.173" v="3738" actId="207"/>
          <ac:spMkLst>
            <pc:docMk/>
            <pc:sldMk cId="1637898337" sldId="2147470148"/>
            <ac:spMk id="43" creationId="{2CA5FA03-92C6-4800-05D8-48E3FF580AA7}"/>
          </ac:spMkLst>
        </pc:spChg>
        <pc:spChg chg="mod">
          <ac:chgData name="Votana Srey" userId="13bee0a8-d205-440d-95f7-48959fdcf002" providerId="ADAL" clId="{0D44528D-A8F9-4657-BEDD-69DBD6A2190B}" dt="2023-02-17T15:30:22.037" v="3741" actId="207"/>
          <ac:spMkLst>
            <pc:docMk/>
            <pc:sldMk cId="1637898337" sldId="2147470148"/>
            <ac:spMk id="44" creationId="{5AFCA3C8-0146-5B8A-54DE-FC9F7E41190A}"/>
          </ac:spMkLst>
        </pc:spChg>
        <pc:spChg chg="mod">
          <ac:chgData name="Votana Srey" userId="13bee0a8-d205-440d-95f7-48959fdcf002" providerId="ADAL" clId="{0D44528D-A8F9-4657-BEDD-69DBD6A2190B}" dt="2023-02-17T15:27:19.374" v="3724" actId="1036"/>
          <ac:spMkLst>
            <pc:docMk/>
            <pc:sldMk cId="1637898337" sldId="2147470148"/>
            <ac:spMk id="152" creationId="{1D557021-53F7-2BF0-BA4A-8EB729183EB0}"/>
          </ac:spMkLst>
        </pc:spChg>
      </pc:sldChg>
      <pc:sldChg chg="addSp delSp modSp add mod">
        <pc:chgData name="Votana Srey" userId="13bee0a8-d205-440d-95f7-48959fdcf002" providerId="ADAL" clId="{0D44528D-A8F9-4657-BEDD-69DBD6A2190B}" dt="2023-02-17T17:26:23.430" v="4113" actId="14100"/>
        <pc:sldMkLst>
          <pc:docMk/>
          <pc:sldMk cId="2046615995" sldId="2147470149"/>
        </pc:sldMkLst>
        <pc:spChg chg="del">
          <ac:chgData name="Votana Srey" userId="13bee0a8-d205-440d-95f7-48959fdcf002" providerId="ADAL" clId="{0D44528D-A8F9-4657-BEDD-69DBD6A2190B}" dt="2023-02-17T15:34:18.296" v="3745" actId="478"/>
          <ac:spMkLst>
            <pc:docMk/>
            <pc:sldMk cId="2046615995" sldId="2147470149"/>
            <ac:spMk id="2" creationId="{82E916DE-D5D5-D727-5B85-18430424F92F}"/>
          </ac:spMkLst>
        </pc:spChg>
        <pc:spChg chg="del">
          <ac:chgData name="Votana Srey" userId="13bee0a8-d205-440d-95f7-48959fdcf002" providerId="ADAL" clId="{0D44528D-A8F9-4657-BEDD-69DBD6A2190B}" dt="2023-02-17T15:34:18.296" v="3745" actId="478"/>
          <ac:spMkLst>
            <pc:docMk/>
            <pc:sldMk cId="2046615995" sldId="2147470149"/>
            <ac:spMk id="4" creationId="{5BA3CD8F-30D4-6404-8130-8A976E62313A}"/>
          </ac:spMkLst>
        </pc:spChg>
        <pc:spChg chg="del">
          <ac:chgData name="Votana Srey" userId="13bee0a8-d205-440d-95f7-48959fdcf002" providerId="ADAL" clId="{0D44528D-A8F9-4657-BEDD-69DBD6A2190B}" dt="2023-02-17T15:34:18.296" v="3745" actId="478"/>
          <ac:spMkLst>
            <pc:docMk/>
            <pc:sldMk cId="2046615995" sldId="2147470149"/>
            <ac:spMk id="7" creationId="{93497556-A39E-C9F6-CA31-642D326E8228}"/>
          </ac:spMkLst>
        </pc:spChg>
        <pc:spChg chg="del">
          <ac:chgData name="Votana Srey" userId="13bee0a8-d205-440d-95f7-48959fdcf002" providerId="ADAL" clId="{0D44528D-A8F9-4657-BEDD-69DBD6A2190B}" dt="2023-02-17T15:34:18.296" v="3745" actId="478"/>
          <ac:spMkLst>
            <pc:docMk/>
            <pc:sldMk cId="2046615995" sldId="2147470149"/>
            <ac:spMk id="8" creationId="{4B0BD1B3-6589-271C-8A64-F78B6FC18E0C}"/>
          </ac:spMkLst>
        </pc:spChg>
        <pc:spChg chg="add mod">
          <ac:chgData name="Votana Srey" userId="13bee0a8-d205-440d-95f7-48959fdcf002" providerId="ADAL" clId="{0D44528D-A8F9-4657-BEDD-69DBD6A2190B}" dt="2023-02-17T17:16:17.293" v="3867" actId="14100"/>
          <ac:spMkLst>
            <pc:docMk/>
            <pc:sldMk cId="2046615995" sldId="2147470149"/>
            <ac:spMk id="9" creationId="{91FD2247-2C6F-EC45-0CA1-F76A39832468}"/>
          </ac:spMkLst>
        </pc:spChg>
        <pc:spChg chg="del">
          <ac:chgData name="Votana Srey" userId="13bee0a8-d205-440d-95f7-48959fdcf002" providerId="ADAL" clId="{0D44528D-A8F9-4657-BEDD-69DBD6A2190B}" dt="2023-02-17T15:34:18.296" v="3745" actId="478"/>
          <ac:spMkLst>
            <pc:docMk/>
            <pc:sldMk cId="2046615995" sldId="2147470149"/>
            <ac:spMk id="10" creationId="{C41D776F-CBA1-7D80-6795-71FB18946218}"/>
          </ac:spMkLst>
        </pc:spChg>
        <pc:spChg chg="del">
          <ac:chgData name="Votana Srey" userId="13bee0a8-d205-440d-95f7-48959fdcf002" providerId="ADAL" clId="{0D44528D-A8F9-4657-BEDD-69DBD6A2190B}" dt="2023-02-17T15:34:18.296" v="3745" actId="478"/>
          <ac:spMkLst>
            <pc:docMk/>
            <pc:sldMk cId="2046615995" sldId="2147470149"/>
            <ac:spMk id="11" creationId="{EE22FC85-1F41-F714-EBFE-84A3B7736281}"/>
          </ac:spMkLst>
        </pc:spChg>
        <pc:spChg chg="del">
          <ac:chgData name="Votana Srey" userId="13bee0a8-d205-440d-95f7-48959fdcf002" providerId="ADAL" clId="{0D44528D-A8F9-4657-BEDD-69DBD6A2190B}" dt="2023-02-17T15:34:18.296" v="3745" actId="478"/>
          <ac:spMkLst>
            <pc:docMk/>
            <pc:sldMk cId="2046615995" sldId="2147470149"/>
            <ac:spMk id="12" creationId="{15345C60-208B-BA57-3184-D3C231BF9057}"/>
          </ac:spMkLst>
        </pc:spChg>
        <pc:spChg chg="del">
          <ac:chgData name="Votana Srey" userId="13bee0a8-d205-440d-95f7-48959fdcf002" providerId="ADAL" clId="{0D44528D-A8F9-4657-BEDD-69DBD6A2190B}" dt="2023-02-17T15:34:20.780" v="3746" actId="478"/>
          <ac:spMkLst>
            <pc:docMk/>
            <pc:sldMk cId="2046615995" sldId="2147470149"/>
            <ac:spMk id="13" creationId="{178CC533-431A-047A-9701-144270640A84}"/>
          </ac:spMkLst>
        </pc:spChg>
        <pc:spChg chg="add mod">
          <ac:chgData name="Votana Srey" userId="13bee0a8-d205-440d-95f7-48959fdcf002" providerId="ADAL" clId="{0D44528D-A8F9-4657-BEDD-69DBD6A2190B}" dt="2023-02-17T17:16:24.897" v="3869" actId="14100"/>
          <ac:spMkLst>
            <pc:docMk/>
            <pc:sldMk cId="2046615995" sldId="2147470149"/>
            <ac:spMk id="14" creationId="{F1F44D77-8742-4A50-11CC-891D96B3D8CB}"/>
          </ac:spMkLst>
        </pc:spChg>
        <pc:spChg chg="del">
          <ac:chgData name="Votana Srey" userId="13bee0a8-d205-440d-95f7-48959fdcf002" providerId="ADAL" clId="{0D44528D-A8F9-4657-BEDD-69DBD6A2190B}" dt="2023-02-17T15:34:18.296" v="3745" actId="478"/>
          <ac:spMkLst>
            <pc:docMk/>
            <pc:sldMk cId="2046615995" sldId="2147470149"/>
            <ac:spMk id="15" creationId="{12800822-DBF9-48DF-0E3C-75DDBB1A562A}"/>
          </ac:spMkLst>
        </pc:spChg>
        <pc:spChg chg="add mod">
          <ac:chgData name="Votana Srey" userId="13bee0a8-d205-440d-95f7-48959fdcf002" providerId="ADAL" clId="{0D44528D-A8F9-4657-BEDD-69DBD6A2190B}" dt="2023-02-17T17:16:29.546" v="3870" actId="1076"/>
          <ac:spMkLst>
            <pc:docMk/>
            <pc:sldMk cId="2046615995" sldId="2147470149"/>
            <ac:spMk id="16" creationId="{16F6C848-E3CE-BEAE-0605-A562A512966A}"/>
          </ac:spMkLst>
        </pc:spChg>
        <pc:spChg chg="del">
          <ac:chgData name="Votana Srey" userId="13bee0a8-d205-440d-95f7-48959fdcf002" providerId="ADAL" clId="{0D44528D-A8F9-4657-BEDD-69DBD6A2190B}" dt="2023-02-17T15:34:18.296" v="3745" actId="478"/>
          <ac:spMkLst>
            <pc:docMk/>
            <pc:sldMk cId="2046615995" sldId="2147470149"/>
            <ac:spMk id="17" creationId="{D06714C0-8035-E29A-917B-16554B0B9F9B}"/>
          </ac:spMkLst>
        </pc:spChg>
        <pc:spChg chg="del">
          <ac:chgData name="Votana Srey" userId="13bee0a8-d205-440d-95f7-48959fdcf002" providerId="ADAL" clId="{0D44528D-A8F9-4657-BEDD-69DBD6A2190B}" dt="2023-02-17T15:34:18.296" v="3745" actId="478"/>
          <ac:spMkLst>
            <pc:docMk/>
            <pc:sldMk cId="2046615995" sldId="2147470149"/>
            <ac:spMk id="18" creationId="{E000606E-A990-AF2E-E803-68681E847B6C}"/>
          </ac:spMkLst>
        </pc:spChg>
        <pc:spChg chg="del">
          <ac:chgData name="Votana Srey" userId="13bee0a8-d205-440d-95f7-48959fdcf002" providerId="ADAL" clId="{0D44528D-A8F9-4657-BEDD-69DBD6A2190B}" dt="2023-02-17T15:34:18.296" v="3745" actId="478"/>
          <ac:spMkLst>
            <pc:docMk/>
            <pc:sldMk cId="2046615995" sldId="2147470149"/>
            <ac:spMk id="19" creationId="{60D138F8-BD91-04C7-D744-0F5268EF0EBB}"/>
          </ac:spMkLst>
        </pc:spChg>
        <pc:spChg chg="del">
          <ac:chgData name="Votana Srey" userId="13bee0a8-d205-440d-95f7-48959fdcf002" providerId="ADAL" clId="{0D44528D-A8F9-4657-BEDD-69DBD6A2190B}" dt="2023-02-17T15:34:18.296" v="3745" actId="478"/>
          <ac:spMkLst>
            <pc:docMk/>
            <pc:sldMk cId="2046615995" sldId="2147470149"/>
            <ac:spMk id="20" creationId="{999CBAD0-2146-0190-412F-3794E4AE91FE}"/>
          </ac:spMkLst>
        </pc:spChg>
        <pc:spChg chg="del">
          <ac:chgData name="Votana Srey" userId="13bee0a8-d205-440d-95f7-48959fdcf002" providerId="ADAL" clId="{0D44528D-A8F9-4657-BEDD-69DBD6A2190B}" dt="2023-02-17T15:34:18.296" v="3745" actId="478"/>
          <ac:spMkLst>
            <pc:docMk/>
            <pc:sldMk cId="2046615995" sldId="2147470149"/>
            <ac:spMk id="21" creationId="{7339EDFD-58AC-9570-B3E5-09556D86891D}"/>
          </ac:spMkLst>
        </pc:spChg>
        <pc:spChg chg="del">
          <ac:chgData name="Votana Srey" userId="13bee0a8-d205-440d-95f7-48959fdcf002" providerId="ADAL" clId="{0D44528D-A8F9-4657-BEDD-69DBD6A2190B}" dt="2023-02-17T15:34:18.296" v="3745" actId="478"/>
          <ac:spMkLst>
            <pc:docMk/>
            <pc:sldMk cId="2046615995" sldId="2147470149"/>
            <ac:spMk id="22" creationId="{3D47F833-1B2F-9086-C1E8-53C90B977603}"/>
          </ac:spMkLst>
        </pc:spChg>
        <pc:spChg chg="del">
          <ac:chgData name="Votana Srey" userId="13bee0a8-d205-440d-95f7-48959fdcf002" providerId="ADAL" clId="{0D44528D-A8F9-4657-BEDD-69DBD6A2190B}" dt="2023-02-17T15:34:18.296" v="3745" actId="478"/>
          <ac:spMkLst>
            <pc:docMk/>
            <pc:sldMk cId="2046615995" sldId="2147470149"/>
            <ac:spMk id="23" creationId="{37FDAD41-331F-B844-5C4E-75297F8CD6CC}"/>
          </ac:spMkLst>
        </pc:spChg>
        <pc:spChg chg="add del mod">
          <ac:chgData name="Votana Srey" userId="13bee0a8-d205-440d-95f7-48959fdcf002" providerId="ADAL" clId="{0D44528D-A8F9-4657-BEDD-69DBD6A2190B}" dt="2023-02-17T17:15:56.220" v="3865" actId="478"/>
          <ac:spMkLst>
            <pc:docMk/>
            <pc:sldMk cId="2046615995" sldId="2147470149"/>
            <ac:spMk id="24" creationId="{64B7FE77-F33A-44D4-3E82-3F92573E0B38}"/>
          </ac:spMkLst>
        </pc:spChg>
        <pc:spChg chg="del mod topLvl">
          <ac:chgData name="Votana Srey" userId="13bee0a8-d205-440d-95f7-48959fdcf002" providerId="ADAL" clId="{0D44528D-A8F9-4657-BEDD-69DBD6A2190B}" dt="2023-02-17T17:20:45.288" v="3937" actId="478"/>
          <ac:spMkLst>
            <pc:docMk/>
            <pc:sldMk cId="2046615995" sldId="2147470149"/>
            <ac:spMk id="31" creationId="{AEFD745B-2B6E-CE78-A0BD-650C71E08A09}"/>
          </ac:spMkLst>
        </pc:spChg>
        <pc:spChg chg="del mod topLvl">
          <ac:chgData name="Votana Srey" userId="13bee0a8-d205-440d-95f7-48959fdcf002" providerId="ADAL" clId="{0D44528D-A8F9-4657-BEDD-69DBD6A2190B}" dt="2023-02-17T17:20:50.759" v="3938" actId="478"/>
          <ac:spMkLst>
            <pc:docMk/>
            <pc:sldMk cId="2046615995" sldId="2147470149"/>
            <ac:spMk id="32" creationId="{9592F980-BFF8-3D03-471F-2B502D0F4F04}"/>
          </ac:spMkLst>
        </pc:spChg>
        <pc:spChg chg="del mod topLvl">
          <ac:chgData name="Votana Srey" userId="13bee0a8-d205-440d-95f7-48959fdcf002" providerId="ADAL" clId="{0D44528D-A8F9-4657-BEDD-69DBD6A2190B}" dt="2023-02-17T17:20:50.759" v="3938" actId="478"/>
          <ac:spMkLst>
            <pc:docMk/>
            <pc:sldMk cId="2046615995" sldId="2147470149"/>
            <ac:spMk id="33" creationId="{8511D7FD-CE54-7EFC-3846-1F63EEFB838E}"/>
          </ac:spMkLst>
        </pc:spChg>
        <pc:spChg chg="del mod topLvl">
          <ac:chgData name="Votana Srey" userId="13bee0a8-d205-440d-95f7-48959fdcf002" providerId="ADAL" clId="{0D44528D-A8F9-4657-BEDD-69DBD6A2190B}" dt="2023-02-17T17:20:50.759" v="3938" actId="478"/>
          <ac:spMkLst>
            <pc:docMk/>
            <pc:sldMk cId="2046615995" sldId="2147470149"/>
            <ac:spMk id="34" creationId="{1D120A01-D289-A4BF-F181-4B86E3561B74}"/>
          </ac:spMkLst>
        </pc:spChg>
        <pc:spChg chg="del mod topLvl">
          <ac:chgData name="Votana Srey" userId="13bee0a8-d205-440d-95f7-48959fdcf002" providerId="ADAL" clId="{0D44528D-A8F9-4657-BEDD-69DBD6A2190B}" dt="2023-02-17T17:20:50.759" v="3938" actId="478"/>
          <ac:spMkLst>
            <pc:docMk/>
            <pc:sldMk cId="2046615995" sldId="2147470149"/>
            <ac:spMk id="35" creationId="{4153307B-54E5-34F4-09D9-8A191A5B88E1}"/>
          </ac:spMkLst>
        </pc:spChg>
        <pc:spChg chg="add del mod topLvl">
          <ac:chgData name="Votana Srey" userId="13bee0a8-d205-440d-95f7-48959fdcf002" providerId="ADAL" clId="{0D44528D-A8F9-4657-BEDD-69DBD6A2190B}" dt="2023-02-17T17:26:06.848" v="4052" actId="14100"/>
          <ac:spMkLst>
            <pc:docMk/>
            <pc:sldMk cId="2046615995" sldId="2147470149"/>
            <ac:spMk id="36" creationId="{084633B3-4BBA-3BB5-BBE6-11AEA7C5C1C5}"/>
          </ac:spMkLst>
        </pc:spChg>
        <pc:spChg chg="del">
          <ac:chgData name="Votana Srey" userId="13bee0a8-d205-440d-95f7-48959fdcf002" providerId="ADAL" clId="{0D44528D-A8F9-4657-BEDD-69DBD6A2190B}" dt="2023-02-17T15:34:18.296" v="3745" actId="478"/>
          <ac:spMkLst>
            <pc:docMk/>
            <pc:sldMk cId="2046615995" sldId="2147470149"/>
            <ac:spMk id="37" creationId="{07BEEF89-D708-908C-EE6B-ADC92B00C7C6}"/>
          </ac:spMkLst>
        </pc:spChg>
        <pc:spChg chg="del">
          <ac:chgData name="Votana Srey" userId="13bee0a8-d205-440d-95f7-48959fdcf002" providerId="ADAL" clId="{0D44528D-A8F9-4657-BEDD-69DBD6A2190B}" dt="2023-02-17T15:34:20.780" v="3746" actId="478"/>
          <ac:spMkLst>
            <pc:docMk/>
            <pc:sldMk cId="2046615995" sldId="2147470149"/>
            <ac:spMk id="38" creationId="{CE7960B9-1064-469B-3E24-9FCCCDD307C8}"/>
          </ac:spMkLst>
        </pc:spChg>
        <pc:spChg chg="del">
          <ac:chgData name="Votana Srey" userId="13bee0a8-d205-440d-95f7-48959fdcf002" providerId="ADAL" clId="{0D44528D-A8F9-4657-BEDD-69DBD6A2190B}" dt="2023-02-17T15:34:18.296" v="3745" actId="478"/>
          <ac:spMkLst>
            <pc:docMk/>
            <pc:sldMk cId="2046615995" sldId="2147470149"/>
            <ac:spMk id="39" creationId="{397BCB01-5267-426A-18EB-9992804F49D0}"/>
          </ac:spMkLst>
        </pc:spChg>
        <pc:spChg chg="del">
          <ac:chgData name="Votana Srey" userId="13bee0a8-d205-440d-95f7-48959fdcf002" providerId="ADAL" clId="{0D44528D-A8F9-4657-BEDD-69DBD6A2190B}" dt="2023-02-17T15:34:18.296" v="3745" actId="478"/>
          <ac:spMkLst>
            <pc:docMk/>
            <pc:sldMk cId="2046615995" sldId="2147470149"/>
            <ac:spMk id="40" creationId="{25643728-370C-A91D-DDC2-6D3CEF4F76BA}"/>
          </ac:spMkLst>
        </pc:spChg>
        <pc:spChg chg="del">
          <ac:chgData name="Votana Srey" userId="13bee0a8-d205-440d-95f7-48959fdcf002" providerId="ADAL" clId="{0D44528D-A8F9-4657-BEDD-69DBD6A2190B}" dt="2023-02-17T15:34:18.296" v="3745" actId="478"/>
          <ac:spMkLst>
            <pc:docMk/>
            <pc:sldMk cId="2046615995" sldId="2147470149"/>
            <ac:spMk id="41" creationId="{7ECEB35B-0225-EB5A-D125-C820EC365CBA}"/>
          </ac:spMkLst>
        </pc:spChg>
        <pc:spChg chg="add mod">
          <ac:chgData name="Votana Srey" userId="13bee0a8-d205-440d-95f7-48959fdcf002" providerId="ADAL" clId="{0D44528D-A8F9-4657-BEDD-69DBD6A2190B}" dt="2023-02-17T17:21:07.794" v="3949" actId="14100"/>
          <ac:spMkLst>
            <pc:docMk/>
            <pc:sldMk cId="2046615995" sldId="2147470149"/>
            <ac:spMk id="42" creationId="{9DDAD9AB-06F5-1D96-D46F-89018F8551DE}"/>
          </ac:spMkLst>
        </pc:spChg>
        <pc:spChg chg="del">
          <ac:chgData name="Votana Srey" userId="13bee0a8-d205-440d-95f7-48959fdcf002" providerId="ADAL" clId="{0D44528D-A8F9-4657-BEDD-69DBD6A2190B}" dt="2023-02-17T15:34:18.296" v="3745" actId="478"/>
          <ac:spMkLst>
            <pc:docMk/>
            <pc:sldMk cId="2046615995" sldId="2147470149"/>
            <ac:spMk id="43" creationId="{2CA5FA03-92C6-4800-05D8-48E3FF580AA7}"/>
          </ac:spMkLst>
        </pc:spChg>
        <pc:spChg chg="del">
          <ac:chgData name="Votana Srey" userId="13bee0a8-d205-440d-95f7-48959fdcf002" providerId="ADAL" clId="{0D44528D-A8F9-4657-BEDD-69DBD6A2190B}" dt="2023-02-17T15:34:18.296" v="3745" actId="478"/>
          <ac:spMkLst>
            <pc:docMk/>
            <pc:sldMk cId="2046615995" sldId="2147470149"/>
            <ac:spMk id="44" creationId="{5AFCA3C8-0146-5B8A-54DE-FC9F7E41190A}"/>
          </ac:spMkLst>
        </pc:spChg>
        <pc:spChg chg="add del mod">
          <ac:chgData name="Votana Srey" userId="13bee0a8-d205-440d-95f7-48959fdcf002" providerId="ADAL" clId="{0D44528D-A8F9-4657-BEDD-69DBD6A2190B}" dt="2023-02-17T17:24:38.904" v="4026" actId="478"/>
          <ac:spMkLst>
            <pc:docMk/>
            <pc:sldMk cId="2046615995" sldId="2147470149"/>
            <ac:spMk id="45" creationId="{F4A4CA6F-F95A-E5A3-6F5B-77A0BEA4A0ED}"/>
          </ac:spMkLst>
        </pc:spChg>
        <pc:spChg chg="add del mod">
          <ac:chgData name="Votana Srey" userId="13bee0a8-d205-440d-95f7-48959fdcf002" providerId="ADAL" clId="{0D44528D-A8F9-4657-BEDD-69DBD6A2190B}" dt="2023-02-17T17:24:38.904" v="4026" actId="478"/>
          <ac:spMkLst>
            <pc:docMk/>
            <pc:sldMk cId="2046615995" sldId="2147470149"/>
            <ac:spMk id="47" creationId="{495BA49C-770E-24E0-9BD7-629BB0FB0760}"/>
          </ac:spMkLst>
        </pc:spChg>
        <pc:spChg chg="add mod">
          <ac:chgData name="Votana Srey" userId="13bee0a8-d205-440d-95f7-48959fdcf002" providerId="ADAL" clId="{0D44528D-A8F9-4657-BEDD-69DBD6A2190B}" dt="2023-02-17T17:26:23.430" v="4113" actId="14100"/>
          <ac:spMkLst>
            <pc:docMk/>
            <pc:sldMk cId="2046615995" sldId="2147470149"/>
            <ac:spMk id="48" creationId="{41F73D80-1668-1016-873D-2E063D6A12D9}"/>
          </ac:spMkLst>
        </pc:spChg>
        <pc:spChg chg="add mod">
          <ac:chgData name="Votana Srey" userId="13bee0a8-d205-440d-95f7-48959fdcf002" providerId="ADAL" clId="{0D44528D-A8F9-4657-BEDD-69DBD6A2190B}" dt="2023-02-17T17:26:15.209" v="4100" actId="1038"/>
          <ac:spMkLst>
            <pc:docMk/>
            <pc:sldMk cId="2046615995" sldId="2147470149"/>
            <ac:spMk id="50" creationId="{318C67E3-E9E9-F0B2-B0A2-073460EE2B24}"/>
          </ac:spMkLst>
        </pc:spChg>
        <pc:spChg chg="del">
          <ac:chgData name="Votana Srey" userId="13bee0a8-d205-440d-95f7-48959fdcf002" providerId="ADAL" clId="{0D44528D-A8F9-4657-BEDD-69DBD6A2190B}" dt="2023-02-17T15:34:18.296" v="3745" actId="478"/>
          <ac:spMkLst>
            <pc:docMk/>
            <pc:sldMk cId="2046615995" sldId="2147470149"/>
            <ac:spMk id="129" creationId="{2E3A5F2D-B968-F95D-D8B2-8E8B9EF7D59B}"/>
          </ac:spMkLst>
        </pc:spChg>
        <pc:spChg chg="del">
          <ac:chgData name="Votana Srey" userId="13bee0a8-d205-440d-95f7-48959fdcf002" providerId="ADAL" clId="{0D44528D-A8F9-4657-BEDD-69DBD6A2190B}" dt="2023-02-17T15:34:18.296" v="3745" actId="478"/>
          <ac:spMkLst>
            <pc:docMk/>
            <pc:sldMk cId="2046615995" sldId="2147470149"/>
            <ac:spMk id="130" creationId="{7EEBC4F4-405D-3A95-798F-63408B023732}"/>
          </ac:spMkLst>
        </pc:spChg>
        <pc:spChg chg="del">
          <ac:chgData name="Votana Srey" userId="13bee0a8-d205-440d-95f7-48959fdcf002" providerId="ADAL" clId="{0D44528D-A8F9-4657-BEDD-69DBD6A2190B}" dt="2023-02-17T15:34:18.296" v="3745" actId="478"/>
          <ac:spMkLst>
            <pc:docMk/>
            <pc:sldMk cId="2046615995" sldId="2147470149"/>
            <ac:spMk id="131" creationId="{E5B302FD-96AE-8E39-F82E-11F92836B4EB}"/>
          </ac:spMkLst>
        </pc:spChg>
        <pc:spChg chg="del">
          <ac:chgData name="Votana Srey" userId="13bee0a8-d205-440d-95f7-48959fdcf002" providerId="ADAL" clId="{0D44528D-A8F9-4657-BEDD-69DBD6A2190B}" dt="2023-02-17T15:34:18.296" v="3745" actId="478"/>
          <ac:spMkLst>
            <pc:docMk/>
            <pc:sldMk cId="2046615995" sldId="2147470149"/>
            <ac:spMk id="149" creationId="{A047C9B1-B1C6-1626-3926-6A234B6D2279}"/>
          </ac:spMkLst>
        </pc:spChg>
        <pc:spChg chg="del">
          <ac:chgData name="Votana Srey" userId="13bee0a8-d205-440d-95f7-48959fdcf002" providerId="ADAL" clId="{0D44528D-A8F9-4657-BEDD-69DBD6A2190B}" dt="2023-02-17T15:34:18.296" v="3745" actId="478"/>
          <ac:spMkLst>
            <pc:docMk/>
            <pc:sldMk cId="2046615995" sldId="2147470149"/>
            <ac:spMk id="152" creationId="{1D557021-53F7-2BF0-BA4A-8EB729183EB0}"/>
          </ac:spMkLst>
        </pc:spChg>
        <pc:grpChg chg="add del mod">
          <ac:chgData name="Votana Srey" userId="13bee0a8-d205-440d-95f7-48959fdcf002" providerId="ADAL" clId="{0D44528D-A8F9-4657-BEDD-69DBD6A2190B}" dt="2023-02-17T17:20:39.331" v="3934" actId="165"/>
          <ac:grpSpMkLst>
            <pc:docMk/>
            <pc:sldMk cId="2046615995" sldId="2147470149"/>
            <ac:grpSpMk id="25" creationId="{8D46D75B-428E-4119-2D26-D5BCD3755511}"/>
          </ac:grpSpMkLst>
        </pc:grpChg>
        <pc:picChg chg="del mod topLvl">
          <ac:chgData name="Votana Srey" userId="13bee0a8-d205-440d-95f7-48959fdcf002" providerId="ADAL" clId="{0D44528D-A8F9-4657-BEDD-69DBD6A2190B}" dt="2023-02-17T17:20:41.070" v="3935" actId="478"/>
          <ac:picMkLst>
            <pc:docMk/>
            <pc:sldMk cId="2046615995" sldId="2147470149"/>
            <ac:picMk id="26" creationId="{A942BBA3-6978-7E4A-DE48-E10890DAE1A9}"/>
          </ac:picMkLst>
        </pc:picChg>
        <pc:picChg chg="del mod topLvl">
          <ac:chgData name="Votana Srey" userId="13bee0a8-d205-440d-95f7-48959fdcf002" providerId="ADAL" clId="{0D44528D-A8F9-4657-BEDD-69DBD6A2190B}" dt="2023-02-17T17:20:50.759" v="3938" actId="478"/>
          <ac:picMkLst>
            <pc:docMk/>
            <pc:sldMk cId="2046615995" sldId="2147470149"/>
            <ac:picMk id="27" creationId="{257D3C3C-4D01-830A-AB00-6087E3D02E90}"/>
          </ac:picMkLst>
        </pc:picChg>
        <pc:picChg chg="del mod topLvl">
          <ac:chgData name="Votana Srey" userId="13bee0a8-d205-440d-95f7-48959fdcf002" providerId="ADAL" clId="{0D44528D-A8F9-4657-BEDD-69DBD6A2190B}" dt="2023-02-17T17:20:45.288" v="3937" actId="478"/>
          <ac:picMkLst>
            <pc:docMk/>
            <pc:sldMk cId="2046615995" sldId="2147470149"/>
            <ac:picMk id="28" creationId="{A04BF762-9183-9F2E-D555-8159C158E17C}"/>
          </ac:picMkLst>
        </pc:picChg>
        <pc:picChg chg="del mod topLvl">
          <ac:chgData name="Votana Srey" userId="13bee0a8-d205-440d-95f7-48959fdcf002" providerId="ADAL" clId="{0D44528D-A8F9-4657-BEDD-69DBD6A2190B}" dt="2023-02-17T17:20:50.759" v="3938" actId="478"/>
          <ac:picMkLst>
            <pc:docMk/>
            <pc:sldMk cId="2046615995" sldId="2147470149"/>
            <ac:picMk id="29" creationId="{4A71871E-2214-0E4E-A378-3C0E9B4B2E94}"/>
          </ac:picMkLst>
        </pc:picChg>
        <pc:picChg chg="del mod topLvl">
          <ac:chgData name="Votana Srey" userId="13bee0a8-d205-440d-95f7-48959fdcf002" providerId="ADAL" clId="{0D44528D-A8F9-4657-BEDD-69DBD6A2190B}" dt="2023-02-17T17:20:50.759" v="3938" actId="478"/>
          <ac:picMkLst>
            <pc:docMk/>
            <pc:sldMk cId="2046615995" sldId="2147470149"/>
            <ac:picMk id="30" creationId="{2ABD7AA0-2619-1EB0-91B4-67582786C32A}"/>
          </ac:picMkLst>
        </pc:picChg>
        <pc:cxnChg chg="del mod">
          <ac:chgData name="Votana Srey" userId="13bee0a8-d205-440d-95f7-48959fdcf002" providerId="ADAL" clId="{0D44528D-A8F9-4657-BEDD-69DBD6A2190B}" dt="2023-02-17T15:34:18.296" v="3745" actId="478"/>
          <ac:cxnSpMkLst>
            <pc:docMk/>
            <pc:sldMk cId="2046615995" sldId="2147470149"/>
            <ac:cxnSpMk id="46" creationId="{602F906D-80C7-7D46-5BA1-BF7D0A0749FB}"/>
          </ac:cxnSpMkLst>
        </pc:cxnChg>
        <pc:cxnChg chg="del mod">
          <ac:chgData name="Votana Srey" userId="13bee0a8-d205-440d-95f7-48959fdcf002" providerId="ADAL" clId="{0D44528D-A8F9-4657-BEDD-69DBD6A2190B}" dt="2023-02-17T15:34:18.296" v="3745" actId="478"/>
          <ac:cxnSpMkLst>
            <pc:docMk/>
            <pc:sldMk cId="2046615995" sldId="2147470149"/>
            <ac:cxnSpMk id="49" creationId="{7E9A6057-053C-9FC0-A8ED-20057A897CD7}"/>
          </ac:cxnSpMkLst>
        </pc:cxnChg>
        <pc:cxnChg chg="del mod">
          <ac:chgData name="Votana Srey" userId="13bee0a8-d205-440d-95f7-48959fdcf002" providerId="ADAL" clId="{0D44528D-A8F9-4657-BEDD-69DBD6A2190B}" dt="2023-02-17T15:34:18.296" v="3745" actId="478"/>
          <ac:cxnSpMkLst>
            <pc:docMk/>
            <pc:sldMk cId="2046615995" sldId="2147470149"/>
            <ac:cxnSpMk id="55" creationId="{8837F632-5276-16D2-A52F-ECA861077AD2}"/>
          </ac:cxnSpMkLst>
        </pc:cxnChg>
        <pc:cxnChg chg="del mod">
          <ac:chgData name="Votana Srey" userId="13bee0a8-d205-440d-95f7-48959fdcf002" providerId="ADAL" clId="{0D44528D-A8F9-4657-BEDD-69DBD6A2190B}" dt="2023-02-17T15:34:18.296" v="3745" actId="478"/>
          <ac:cxnSpMkLst>
            <pc:docMk/>
            <pc:sldMk cId="2046615995" sldId="2147470149"/>
            <ac:cxnSpMk id="57" creationId="{D28B75DC-A9CB-E728-E157-13918D5DC0B9}"/>
          </ac:cxnSpMkLst>
        </pc:cxnChg>
        <pc:cxnChg chg="del mod">
          <ac:chgData name="Votana Srey" userId="13bee0a8-d205-440d-95f7-48959fdcf002" providerId="ADAL" clId="{0D44528D-A8F9-4657-BEDD-69DBD6A2190B}" dt="2023-02-17T15:34:18.296" v="3745" actId="478"/>
          <ac:cxnSpMkLst>
            <pc:docMk/>
            <pc:sldMk cId="2046615995" sldId="2147470149"/>
            <ac:cxnSpMk id="75" creationId="{159E1332-02F0-CD60-1C58-5B2A3CF6E887}"/>
          </ac:cxnSpMkLst>
        </pc:cxnChg>
        <pc:cxnChg chg="del mod">
          <ac:chgData name="Votana Srey" userId="13bee0a8-d205-440d-95f7-48959fdcf002" providerId="ADAL" clId="{0D44528D-A8F9-4657-BEDD-69DBD6A2190B}" dt="2023-02-17T15:34:18.296" v="3745" actId="478"/>
          <ac:cxnSpMkLst>
            <pc:docMk/>
            <pc:sldMk cId="2046615995" sldId="2147470149"/>
            <ac:cxnSpMk id="85" creationId="{4FDC970F-FA9E-3FAA-C189-C4E16CFA6733}"/>
          </ac:cxnSpMkLst>
        </pc:cxnChg>
        <pc:cxnChg chg="del mod">
          <ac:chgData name="Votana Srey" userId="13bee0a8-d205-440d-95f7-48959fdcf002" providerId="ADAL" clId="{0D44528D-A8F9-4657-BEDD-69DBD6A2190B}" dt="2023-02-17T15:34:18.296" v="3745" actId="478"/>
          <ac:cxnSpMkLst>
            <pc:docMk/>
            <pc:sldMk cId="2046615995" sldId="2147470149"/>
            <ac:cxnSpMk id="87" creationId="{E3E7B0F8-6D84-8BA0-B161-F9DA6B4C12C9}"/>
          </ac:cxnSpMkLst>
        </pc:cxnChg>
        <pc:cxnChg chg="del mod">
          <ac:chgData name="Votana Srey" userId="13bee0a8-d205-440d-95f7-48959fdcf002" providerId="ADAL" clId="{0D44528D-A8F9-4657-BEDD-69DBD6A2190B}" dt="2023-02-17T15:34:18.296" v="3745" actId="478"/>
          <ac:cxnSpMkLst>
            <pc:docMk/>
            <pc:sldMk cId="2046615995" sldId="2147470149"/>
            <ac:cxnSpMk id="91" creationId="{8A759DFB-A41F-0339-404D-DB5E65F76F50}"/>
          </ac:cxnSpMkLst>
        </pc:cxnChg>
        <pc:cxnChg chg="del mod">
          <ac:chgData name="Votana Srey" userId="13bee0a8-d205-440d-95f7-48959fdcf002" providerId="ADAL" clId="{0D44528D-A8F9-4657-BEDD-69DBD6A2190B}" dt="2023-02-17T15:34:18.296" v="3745" actId="478"/>
          <ac:cxnSpMkLst>
            <pc:docMk/>
            <pc:sldMk cId="2046615995" sldId="2147470149"/>
            <ac:cxnSpMk id="93" creationId="{CF4FE45B-5AB0-8E2B-C53D-4AAB1E6A50CD}"/>
          </ac:cxnSpMkLst>
        </pc:cxnChg>
        <pc:cxnChg chg="del mod">
          <ac:chgData name="Votana Srey" userId="13bee0a8-d205-440d-95f7-48959fdcf002" providerId="ADAL" clId="{0D44528D-A8F9-4657-BEDD-69DBD6A2190B}" dt="2023-02-17T15:34:18.296" v="3745" actId="478"/>
          <ac:cxnSpMkLst>
            <pc:docMk/>
            <pc:sldMk cId="2046615995" sldId="2147470149"/>
            <ac:cxnSpMk id="95" creationId="{5E271107-10FC-AD66-D2FF-B581A15C8519}"/>
          </ac:cxnSpMkLst>
        </pc:cxnChg>
        <pc:cxnChg chg="del mod">
          <ac:chgData name="Votana Srey" userId="13bee0a8-d205-440d-95f7-48959fdcf002" providerId="ADAL" clId="{0D44528D-A8F9-4657-BEDD-69DBD6A2190B}" dt="2023-02-17T15:34:18.296" v="3745" actId="478"/>
          <ac:cxnSpMkLst>
            <pc:docMk/>
            <pc:sldMk cId="2046615995" sldId="2147470149"/>
            <ac:cxnSpMk id="97" creationId="{95503A3F-DA5F-3944-FFBB-131DD05FB143}"/>
          </ac:cxnSpMkLst>
        </pc:cxnChg>
        <pc:cxnChg chg="del mod">
          <ac:chgData name="Votana Srey" userId="13bee0a8-d205-440d-95f7-48959fdcf002" providerId="ADAL" clId="{0D44528D-A8F9-4657-BEDD-69DBD6A2190B}" dt="2023-02-17T15:34:18.296" v="3745" actId="478"/>
          <ac:cxnSpMkLst>
            <pc:docMk/>
            <pc:sldMk cId="2046615995" sldId="2147470149"/>
            <ac:cxnSpMk id="99" creationId="{66A29047-54B2-5DEB-D798-FD986F15C5BA}"/>
          </ac:cxnSpMkLst>
        </pc:cxnChg>
        <pc:cxnChg chg="del mod">
          <ac:chgData name="Votana Srey" userId="13bee0a8-d205-440d-95f7-48959fdcf002" providerId="ADAL" clId="{0D44528D-A8F9-4657-BEDD-69DBD6A2190B}" dt="2023-02-17T15:34:18.296" v="3745" actId="478"/>
          <ac:cxnSpMkLst>
            <pc:docMk/>
            <pc:sldMk cId="2046615995" sldId="2147470149"/>
            <ac:cxnSpMk id="101" creationId="{40195256-EC45-D410-0F31-1232A028F394}"/>
          </ac:cxnSpMkLst>
        </pc:cxnChg>
        <pc:cxnChg chg="del mod">
          <ac:chgData name="Votana Srey" userId="13bee0a8-d205-440d-95f7-48959fdcf002" providerId="ADAL" clId="{0D44528D-A8F9-4657-BEDD-69DBD6A2190B}" dt="2023-02-17T15:34:18.296" v="3745" actId="478"/>
          <ac:cxnSpMkLst>
            <pc:docMk/>
            <pc:sldMk cId="2046615995" sldId="2147470149"/>
            <ac:cxnSpMk id="105" creationId="{BF2C9F42-37FF-FDC8-0265-DF1951938614}"/>
          </ac:cxnSpMkLst>
        </pc:cxnChg>
        <pc:cxnChg chg="del mod">
          <ac:chgData name="Votana Srey" userId="13bee0a8-d205-440d-95f7-48959fdcf002" providerId="ADAL" clId="{0D44528D-A8F9-4657-BEDD-69DBD6A2190B}" dt="2023-02-17T15:34:18.296" v="3745" actId="478"/>
          <ac:cxnSpMkLst>
            <pc:docMk/>
            <pc:sldMk cId="2046615995" sldId="2147470149"/>
            <ac:cxnSpMk id="107" creationId="{76A463DB-4F61-82E0-9055-1CCECADE86DC}"/>
          </ac:cxnSpMkLst>
        </pc:cxnChg>
        <pc:cxnChg chg="del mod">
          <ac:chgData name="Votana Srey" userId="13bee0a8-d205-440d-95f7-48959fdcf002" providerId="ADAL" clId="{0D44528D-A8F9-4657-BEDD-69DBD6A2190B}" dt="2023-02-17T15:34:18.296" v="3745" actId="478"/>
          <ac:cxnSpMkLst>
            <pc:docMk/>
            <pc:sldMk cId="2046615995" sldId="2147470149"/>
            <ac:cxnSpMk id="118" creationId="{C2590C04-CED6-A5D6-57D9-A24CBE97B1A2}"/>
          </ac:cxnSpMkLst>
        </pc:cxnChg>
        <pc:cxnChg chg="del mod">
          <ac:chgData name="Votana Srey" userId="13bee0a8-d205-440d-95f7-48959fdcf002" providerId="ADAL" clId="{0D44528D-A8F9-4657-BEDD-69DBD6A2190B}" dt="2023-02-17T15:34:18.296" v="3745" actId="478"/>
          <ac:cxnSpMkLst>
            <pc:docMk/>
            <pc:sldMk cId="2046615995" sldId="2147470149"/>
            <ac:cxnSpMk id="120" creationId="{04DF232F-345F-A667-5FF6-5FE10E3838A8}"/>
          </ac:cxnSpMkLst>
        </pc:cxnChg>
        <pc:cxnChg chg="del mod">
          <ac:chgData name="Votana Srey" userId="13bee0a8-d205-440d-95f7-48959fdcf002" providerId="ADAL" clId="{0D44528D-A8F9-4657-BEDD-69DBD6A2190B}" dt="2023-02-17T15:34:18.296" v="3745" actId="478"/>
          <ac:cxnSpMkLst>
            <pc:docMk/>
            <pc:sldMk cId="2046615995" sldId="2147470149"/>
            <ac:cxnSpMk id="122" creationId="{1ACD4996-46A8-0573-3DC9-ABBDE4C63DC6}"/>
          </ac:cxnSpMkLst>
        </pc:cxnChg>
        <pc:cxnChg chg="del mod">
          <ac:chgData name="Votana Srey" userId="13bee0a8-d205-440d-95f7-48959fdcf002" providerId="ADAL" clId="{0D44528D-A8F9-4657-BEDD-69DBD6A2190B}" dt="2023-02-17T15:34:18.296" v="3745" actId="478"/>
          <ac:cxnSpMkLst>
            <pc:docMk/>
            <pc:sldMk cId="2046615995" sldId="2147470149"/>
            <ac:cxnSpMk id="124" creationId="{123CC454-AF41-DD35-98B9-7774BB5683E8}"/>
          </ac:cxnSpMkLst>
        </pc:cxnChg>
        <pc:cxnChg chg="del mod">
          <ac:chgData name="Votana Srey" userId="13bee0a8-d205-440d-95f7-48959fdcf002" providerId="ADAL" clId="{0D44528D-A8F9-4657-BEDD-69DBD6A2190B}" dt="2023-02-17T15:34:18.296" v="3745" actId="478"/>
          <ac:cxnSpMkLst>
            <pc:docMk/>
            <pc:sldMk cId="2046615995" sldId="2147470149"/>
            <ac:cxnSpMk id="134" creationId="{14AE5EA2-0517-E3D8-AAD4-C145EE54732E}"/>
          </ac:cxnSpMkLst>
        </pc:cxnChg>
        <pc:cxnChg chg="del mod">
          <ac:chgData name="Votana Srey" userId="13bee0a8-d205-440d-95f7-48959fdcf002" providerId="ADAL" clId="{0D44528D-A8F9-4657-BEDD-69DBD6A2190B}" dt="2023-02-17T15:34:18.296" v="3745" actId="478"/>
          <ac:cxnSpMkLst>
            <pc:docMk/>
            <pc:sldMk cId="2046615995" sldId="2147470149"/>
            <ac:cxnSpMk id="136" creationId="{675A552D-2ADB-28B3-7C0C-80824561238C}"/>
          </ac:cxnSpMkLst>
        </pc:cxnChg>
        <pc:cxnChg chg="del mod">
          <ac:chgData name="Votana Srey" userId="13bee0a8-d205-440d-95f7-48959fdcf002" providerId="ADAL" clId="{0D44528D-A8F9-4657-BEDD-69DBD6A2190B}" dt="2023-02-17T15:34:18.296" v="3745" actId="478"/>
          <ac:cxnSpMkLst>
            <pc:docMk/>
            <pc:sldMk cId="2046615995" sldId="2147470149"/>
            <ac:cxnSpMk id="139" creationId="{B4EACEA4-9547-3E54-65E7-906BAACB455C}"/>
          </ac:cxnSpMkLst>
        </pc:cxnChg>
        <pc:cxnChg chg="del mod">
          <ac:chgData name="Votana Srey" userId="13bee0a8-d205-440d-95f7-48959fdcf002" providerId="ADAL" clId="{0D44528D-A8F9-4657-BEDD-69DBD6A2190B}" dt="2023-02-17T15:34:18.296" v="3745" actId="478"/>
          <ac:cxnSpMkLst>
            <pc:docMk/>
            <pc:sldMk cId="2046615995" sldId="2147470149"/>
            <ac:cxnSpMk id="141" creationId="{33966FAF-EFEE-CC81-ADAF-49D0EB371F85}"/>
          </ac:cxnSpMkLst>
        </pc:cxnChg>
        <pc:cxnChg chg="del mod">
          <ac:chgData name="Votana Srey" userId="13bee0a8-d205-440d-95f7-48959fdcf002" providerId="ADAL" clId="{0D44528D-A8F9-4657-BEDD-69DBD6A2190B}" dt="2023-02-17T15:34:18.296" v="3745" actId="478"/>
          <ac:cxnSpMkLst>
            <pc:docMk/>
            <pc:sldMk cId="2046615995" sldId="2147470149"/>
            <ac:cxnSpMk id="145" creationId="{4E9675B6-24BF-FF96-1159-2879607BB817}"/>
          </ac:cxnSpMkLst>
        </pc:cxnChg>
        <pc:cxnChg chg="del mod">
          <ac:chgData name="Votana Srey" userId="13bee0a8-d205-440d-95f7-48959fdcf002" providerId="ADAL" clId="{0D44528D-A8F9-4657-BEDD-69DBD6A2190B}" dt="2023-02-17T15:34:18.296" v="3745" actId="478"/>
          <ac:cxnSpMkLst>
            <pc:docMk/>
            <pc:sldMk cId="2046615995" sldId="2147470149"/>
            <ac:cxnSpMk id="147" creationId="{1C12506A-39D7-B192-B62E-4C2F67A80D6C}"/>
          </ac:cxnSpMkLst>
        </pc:cxnChg>
        <pc:cxnChg chg="del mod">
          <ac:chgData name="Votana Srey" userId="13bee0a8-d205-440d-95f7-48959fdcf002" providerId="ADAL" clId="{0D44528D-A8F9-4657-BEDD-69DBD6A2190B}" dt="2023-02-17T15:34:18.296" v="3745" actId="478"/>
          <ac:cxnSpMkLst>
            <pc:docMk/>
            <pc:sldMk cId="2046615995" sldId="2147470149"/>
            <ac:cxnSpMk id="151" creationId="{6B8B1BC4-6FE1-87D7-5C7A-C46B0492EA45}"/>
          </ac:cxnSpMkLst>
        </pc:cxnChg>
        <pc:cxnChg chg="del mod">
          <ac:chgData name="Votana Srey" userId="13bee0a8-d205-440d-95f7-48959fdcf002" providerId="ADAL" clId="{0D44528D-A8F9-4657-BEDD-69DBD6A2190B}" dt="2023-02-17T15:34:18.296" v="3745" actId="478"/>
          <ac:cxnSpMkLst>
            <pc:docMk/>
            <pc:sldMk cId="2046615995" sldId="2147470149"/>
            <ac:cxnSpMk id="154" creationId="{EA08AA72-21D4-27FC-AB79-D73C70C56376}"/>
          </ac:cxnSpMkLst>
        </pc:cxnChg>
      </pc:sldChg>
      <pc:sldChg chg="modSp add del mod ord">
        <pc:chgData name="Votana Srey" userId="13bee0a8-d205-440d-95f7-48959fdcf002" providerId="ADAL" clId="{0D44528D-A8F9-4657-BEDD-69DBD6A2190B}" dt="2023-02-17T17:34:46.852" v="4139" actId="47"/>
        <pc:sldMkLst>
          <pc:docMk/>
          <pc:sldMk cId="2670329746" sldId="2147470150"/>
        </pc:sldMkLst>
        <pc:spChg chg="mod">
          <ac:chgData name="Votana Srey" userId="13bee0a8-d205-440d-95f7-48959fdcf002" providerId="ADAL" clId="{0D44528D-A8F9-4657-BEDD-69DBD6A2190B}" dt="2023-02-17T17:34:26.201" v="4135" actId="20577"/>
          <ac:spMkLst>
            <pc:docMk/>
            <pc:sldMk cId="2670329746" sldId="2147470150"/>
            <ac:spMk id="4" creationId="{00000000-0000-0000-0000-000000000000}"/>
          </ac:spMkLst>
        </pc:spChg>
      </pc:sldChg>
      <pc:sldChg chg="modSp add mod ord">
        <pc:chgData name="Votana Srey" userId="13bee0a8-d205-440d-95f7-48959fdcf002" providerId="ADAL" clId="{0D44528D-A8F9-4657-BEDD-69DBD6A2190B}" dt="2023-02-17T17:35:07.865" v="4176" actId="14100"/>
        <pc:sldMkLst>
          <pc:docMk/>
          <pc:sldMk cId="1164123289" sldId="2147470151"/>
        </pc:sldMkLst>
        <pc:spChg chg="mod">
          <ac:chgData name="Votana Srey" userId="13bee0a8-d205-440d-95f7-48959fdcf002" providerId="ADAL" clId="{0D44528D-A8F9-4657-BEDD-69DBD6A2190B}" dt="2023-02-17T17:35:07.865" v="4176" actId="14100"/>
          <ac:spMkLst>
            <pc:docMk/>
            <pc:sldMk cId="1164123289" sldId="2147470151"/>
            <ac:spMk id="3" creationId="{B4E3B212-F10D-EFE6-B6CF-6EC1B98DB0ED}"/>
          </ac:spMkLst>
        </pc:spChg>
      </pc:sldChg>
      <pc:sldMasterChg chg="addSldLayout delSldLayout">
        <pc:chgData name="Votana Srey" userId="13bee0a8-d205-440d-95f7-48959fdcf002" providerId="ADAL" clId="{0D44528D-A8F9-4657-BEDD-69DBD6A2190B}" dt="2023-02-09T04:38:37.446" v="2647" actId="47"/>
        <pc:sldMasterMkLst>
          <pc:docMk/>
          <pc:sldMasterMk cId="0" sldId="2147483648"/>
        </pc:sldMasterMkLst>
        <pc:sldLayoutChg chg="del">
          <pc:chgData name="Votana Srey" userId="13bee0a8-d205-440d-95f7-48959fdcf002" providerId="ADAL" clId="{0D44528D-A8F9-4657-BEDD-69DBD6A2190B}" dt="2023-02-02T18:07:45.394" v="2015" actId="47"/>
          <pc:sldLayoutMkLst>
            <pc:docMk/>
            <pc:sldMasterMk cId="0" sldId="2147483648"/>
            <pc:sldLayoutMk cId="958441043" sldId="2147483663"/>
          </pc:sldLayoutMkLst>
        </pc:sldLayoutChg>
        <pc:sldLayoutChg chg="add del">
          <pc:chgData name="Votana Srey" userId="13bee0a8-d205-440d-95f7-48959fdcf002" providerId="ADAL" clId="{0D44528D-A8F9-4657-BEDD-69DBD6A2190B}" dt="2023-02-02T18:07:40.376" v="2005" actId="47"/>
          <pc:sldLayoutMkLst>
            <pc:docMk/>
            <pc:sldMasterMk cId="0" sldId="2147483648"/>
            <pc:sldLayoutMk cId="1258919452" sldId="2147483668"/>
          </pc:sldLayoutMkLst>
        </pc:sldLayoutChg>
        <pc:sldLayoutChg chg="del">
          <pc:chgData name="Votana Srey" userId="13bee0a8-d205-440d-95f7-48959fdcf002" providerId="ADAL" clId="{0D44528D-A8F9-4657-BEDD-69DBD6A2190B}" dt="2023-02-02T18:07:47.641" v="2020" actId="47"/>
          <pc:sldLayoutMkLst>
            <pc:docMk/>
            <pc:sldMasterMk cId="0" sldId="2147483648"/>
            <pc:sldLayoutMk cId="833169206" sldId="2147483678"/>
          </pc:sldLayoutMkLst>
        </pc:sldLayoutChg>
        <pc:sldLayoutChg chg="del">
          <pc:chgData name="Votana Srey" userId="13bee0a8-d205-440d-95f7-48959fdcf002" providerId="ADAL" clId="{0D44528D-A8F9-4657-BEDD-69DBD6A2190B}" dt="2023-02-02T18:07:46.891" v="2018" actId="47"/>
          <pc:sldLayoutMkLst>
            <pc:docMk/>
            <pc:sldMasterMk cId="0" sldId="2147483648"/>
            <pc:sldLayoutMk cId="1708518686" sldId="2147483679"/>
          </pc:sldLayoutMkLst>
        </pc:sldLayoutChg>
        <pc:sldLayoutChg chg="del">
          <pc:chgData name="Votana Srey" userId="13bee0a8-d205-440d-95f7-48959fdcf002" providerId="ADAL" clId="{0D44528D-A8F9-4657-BEDD-69DBD6A2190B}" dt="2023-02-02T17:37:09.074" v="1134" actId="47"/>
          <pc:sldLayoutMkLst>
            <pc:docMk/>
            <pc:sldMasterMk cId="0" sldId="2147483648"/>
            <pc:sldLayoutMk cId="767295348" sldId="2147483824"/>
          </pc:sldLayoutMkLst>
        </pc:sldLayoutChg>
        <pc:sldLayoutChg chg="del">
          <pc:chgData name="Votana Srey" userId="13bee0a8-d205-440d-95f7-48959fdcf002" providerId="ADAL" clId="{0D44528D-A8F9-4657-BEDD-69DBD6A2190B}" dt="2023-02-09T04:38:37.446" v="2647" actId="47"/>
          <pc:sldLayoutMkLst>
            <pc:docMk/>
            <pc:sldMasterMk cId="0" sldId="2147483648"/>
            <pc:sldLayoutMk cId="2511433616" sldId="214748382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D0E9A71A-9D71-B4CA-77D1-2CB4B126AE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Tijdelijke aanduiding voor datum 2">
            <a:extLst>
              <a:ext uri="{FF2B5EF4-FFF2-40B4-BE49-F238E27FC236}">
                <a16:creationId xmlns:a16="http://schemas.microsoft.com/office/drawing/2014/main" id="{CA2C803A-9DE6-6894-7A83-0DCC38BE65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D84832-1396-44BE-B280-AAD8F4713EAD}" type="datetimeFigureOut">
              <a:rPr lang="de-DE" smtClean="0"/>
              <a:t>18.02.2023</a:t>
            </a:fld>
            <a:endParaRPr lang="de-DE"/>
          </a:p>
        </p:txBody>
      </p:sp>
      <p:sp>
        <p:nvSpPr>
          <p:cNvPr id="4" name="Tijdelijke aanduiding voor voettekst 3">
            <a:extLst>
              <a:ext uri="{FF2B5EF4-FFF2-40B4-BE49-F238E27FC236}">
                <a16:creationId xmlns:a16="http://schemas.microsoft.com/office/drawing/2014/main" id="{7219CABC-1589-9D94-A03C-1CB3C3F64E4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Tijdelijke aanduiding voor dianummer 4">
            <a:extLst>
              <a:ext uri="{FF2B5EF4-FFF2-40B4-BE49-F238E27FC236}">
                <a16:creationId xmlns:a16="http://schemas.microsoft.com/office/drawing/2014/main" id="{DE222109-9E3B-AF46-BD19-D4FE4A893FE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F4DBC9-74C0-43D8-A63D-BF34247CFEBF}" type="slidenum">
              <a:rPr lang="de-DE" smtClean="0"/>
              <a:t>‹#›</a:t>
            </a:fld>
            <a:endParaRPr lang="de-DE"/>
          </a:p>
        </p:txBody>
      </p:sp>
    </p:spTree>
    <p:extLst>
      <p:ext uri="{BB962C8B-B14F-4D97-AF65-F5344CB8AC3E}">
        <p14:creationId xmlns:p14="http://schemas.microsoft.com/office/powerpoint/2010/main" val="4073321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2" name="Shape 142"/>
          <p:cNvSpPr>
            <a:spLocks noGrp="1" noRot="1" noChangeAspect="1"/>
          </p:cNvSpPr>
          <p:nvPr>
            <p:ph type="sldImg"/>
          </p:nvPr>
        </p:nvSpPr>
        <p:spPr>
          <a:xfrm>
            <a:off x="381000" y="685800"/>
            <a:ext cx="6096000" cy="3429000"/>
          </a:xfrm>
          <a:prstGeom prst="rect">
            <a:avLst/>
          </a:prstGeom>
        </p:spPr>
        <p:txBody>
          <a:bodyPr/>
          <a:lstStyle/>
          <a:p>
            <a:endParaRPr/>
          </a:p>
        </p:txBody>
      </p:sp>
      <p:sp>
        <p:nvSpPr>
          <p:cNvPr id="143" name="Shape 143"/>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228594" latinLnBrk="0">
      <a:lnSpc>
        <a:spcPct val="117999"/>
      </a:lnSpc>
      <a:defRPr sz="1100">
        <a:latin typeface="Helvetica Neue"/>
        <a:ea typeface="Helvetica Neue"/>
        <a:cs typeface="Helvetica Neue"/>
        <a:sym typeface="Helvetica Neue"/>
      </a:defRPr>
    </a:lvl1pPr>
    <a:lvl2pPr indent="114297" defTabSz="228594" latinLnBrk="0">
      <a:lnSpc>
        <a:spcPct val="117999"/>
      </a:lnSpc>
      <a:defRPr sz="1100">
        <a:latin typeface="Helvetica Neue"/>
        <a:ea typeface="Helvetica Neue"/>
        <a:cs typeface="Helvetica Neue"/>
        <a:sym typeface="Helvetica Neue"/>
      </a:defRPr>
    </a:lvl2pPr>
    <a:lvl3pPr indent="228594" defTabSz="228594" latinLnBrk="0">
      <a:lnSpc>
        <a:spcPct val="117999"/>
      </a:lnSpc>
      <a:defRPr sz="1100">
        <a:latin typeface="Helvetica Neue"/>
        <a:ea typeface="Helvetica Neue"/>
        <a:cs typeface="Helvetica Neue"/>
        <a:sym typeface="Helvetica Neue"/>
      </a:defRPr>
    </a:lvl3pPr>
    <a:lvl4pPr indent="342891" defTabSz="228594" latinLnBrk="0">
      <a:lnSpc>
        <a:spcPct val="117999"/>
      </a:lnSpc>
      <a:defRPr sz="1100">
        <a:latin typeface="Helvetica Neue"/>
        <a:ea typeface="Helvetica Neue"/>
        <a:cs typeface="Helvetica Neue"/>
        <a:sym typeface="Helvetica Neue"/>
      </a:defRPr>
    </a:lvl4pPr>
    <a:lvl5pPr indent="457189" defTabSz="228594" latinLnBrk="0">
      <a:lnSpc>
        <a:spcPct val="117999"/>
      </a:lnSpc>
      <a:defRPr sz="1100">
        <a:latin typeface="Helvetica Neue"/>
        <a:ea typeface="Helvetica Neue"/>
        <a:cs typeface="Helvetica Neue"/>
        <a:sym typeface="Helvetica Neue"/>
      </a:defRPr>
    </a:lvl5pPr>
    <a:lvl6pPr indent="571486" defTabSz="228594" latinLnBrk="0">
      <a:lnSpc>
        <a:spcPct val="117999"/>
      </a:lnSpc>
      <a:defRPr sz="1100">
        <a:latin typeface="Helvetica Neue"/>
        <a:ea typeface="Helvetica Neue"/>
        <a:cs typeface="Helvetica Neue"/>
        <a:sym typeface="Helvetica Neue"/>
      </a:defRPr>
    </a:lvl6pPr>
    <a:lvl7pPr indent="685783" defTabSz="228594" latinLnBrk="0">
      <a:lnSpc>
        <a:spcPct val="117999"/>
      </a:lnSpc>
      <a:defRPr sz="1100">
        <a:latin typeface="Helvetica Neue"/>
        <a:ea typeface="Helvetica Neue"/>
        <a:cs typeface="Helvetica Neue"/>
        <a:sym typeface="Helvetica Neue"/>
      </a:defRPr>
    </a:lvl7pPr>
    <a:lvl8pPr indent="800080" defTabSz="228594" latinLnBrk="0">
      <a:lnSpc>
        <a:spcPct val="117999"/>
      </a:lnSpc>
      <a:defRPr sz="1100">
        <a:latin typeface="Helvetica Neue"/>
        <a:ea typeface="Helvetica Neue"/>
        <a:cs typeface="Helvetica Neue"/>
        <a:sym typeface="Helvetica Neue"/>
      </a:defRPr>
    </a:lvl8pPr>
    <a:lvl9pPr indent="914377" defTabSz="228594" latinLnBrk="0">
      <a:lnSpc>
        <a:spcPct val="117999"/>
      </a:lnSpc>
      <a:defRPr sz="11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789222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86CF44-EBCB-4423-8488-F68BDB5E3B04}" type="slidenum">
              <a:rPr lang="en-UK" smtClean="0"/>
              <a:t>6</a:t>
            </a:fld>
            <a:endParaRPr lang="en-UK"/>
          </a:p>
        </p:txBody>
      </p:sp>
    </p:spTree>
    <p:extLst>
      <p:ext uri="{BB962C8B-B14F-4D97-AF65-F5344CB8AC3E}">
        <p14:creationId xmlns:p14="http://schemas.microsoft.com/office/powerpoint/2010/main" val="36038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2493374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311461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954082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1789640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9.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2.svg"/><Relationship Id="rId5" Type="http://schemas.openxmlformats.org/officeDocument/2006/relationships/image" Target="../media/image21.png"/><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5.xml"/><Relationship Id="rId7" Type="http://schemas.openxmlformats.org/officeDocument/2006/relationships/oleObject" Target="../embeddings/oleObject3.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24.emf"/><Relationship Id="rId4" Type="http://schemas.openxmlformats.org/officeDocument/2006/relationships/tags" Target="../tags/tag31.xml"/><Relationship Id="rId9"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7.xml"/><Relationship Id="rId7"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25.emf"/></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3.xml"/><Relationship Id="rId7"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25.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49.xml"/><Relationship Id="rId7" Type="http://schemas.openxmlformats.org/officeDocument/2006/relationships/oleObject" Target="../embeddings/oleObject7.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4.xml"/><Relationship Id="rId7"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image" Target="../media/image25.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0.xml"/><Relationship Id="rId7"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image" Target="../media/image24.emf"/></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6.xml"/><Relationship Id="rId7"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24.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2.xml"/><Relationship Id="rId7"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24.emf"/></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78.xml"/><Relationship Id="rId7"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 Id="rId9" Type="http://schemas.openxmlformats.org/officeDocument/2006/relationships/image" Target="../media/image26.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84.xml"/><Relationship Id="rId7"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 Id="rId9" Type="http://schemas.openxmlformats.org/officeDocument/2006/relationships/image" Target="../media/image24.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0.xml"/><Relationship Id="rId7"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 Id="rId9" Type="http://schemas.openxmlformats.org/officeDocument/2006/relationships/image" Target="../media/image24.emf"/></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96.xml"/><Relationship Id="rId7"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24.emf"/></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02.xml"/><Relationship Id="rId7"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image" Target="../media/image24.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8.xml"/><Relationship Id="rId7"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image" Target="../media/image26.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14.xml"/><Relationship Id="rId7"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4.emf"/></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20.xml"/><Relationship Id="rId7"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 Id="rId9" Type="http://schemas.openxmlformats.org/officeDocument/2006/relationships/image" Target="../media/image25.emf"/></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5.emf"/><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12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type="tx" preserve="1">
  <p:cSld name="Datalines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82C209-31FC-205E-453A-F65A4A040FC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3" name="Slide Number Placeholder 1">
            <a:extLst>
              <a:ext uri="{FF2B5EF4-FFF2-40B4-BE49-F238E27FC236}">
                <a16:creationId xmlns:a16="http://schemas.microsoft.com/office/drawing/2014/main" id="{EC049803-9112-95F6-67EF-8E94ABCEA44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B8AC0B-F4D7-F51C-5CCF-4D6DA2FF15B2}"/>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130543" y="-2480531"/>
            <a:ext cx="5424632" cy="7269523"/>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65131546-8638-CB54-11A1-BC755099103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8" name="Текст 7">
            <a:extLst>
              <a:ext uri="{FF2B5EF4-FFF2-40B4-BE49-F238E27FC236}">
                <a16:creationId xmlns:a16="http://schemas.microsoft.com/office/drawing/2014/main" id="{279D4F4D-A122-9FDA-8784-DE6A7DDD0DA5}"/>
              </a:ext>
            </a:extLst>
          </p:cNvPr>
          <p:cNvSpPr>
            <a:spLocks noGrp="1"/>
          </p:cNvSpPr>
          <p:nvPr>
            <p:ph type="body" sz="quarter" idx="39" hasCustomPrompt="1"/>
          </p:nvPr>
        </p:nvSpPr>
        <p:spPr>
          <a:xfrm>
            <a:off x="6096000" y="2017755"/>
            <a:ext cx="51489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column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2143D-340D-4A9E-6731-9ECCA078E2B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pic>
        <p:nvPicPr>
          <p:cNvPr id="6" name="Picture 5" descr="A picture containing text, vector graphics&#10;&#10;Description automatically generated">
            <a:extLst>
              <a:ext uri="{FF2B5EF4-FFF2-40B4-BE49-F238E27FC236}">
                <a16:creationId xmlns:a16="http://schemas.microsoft.com/office/drawing/2014/main" id="{2677665F-B493-3923-82BF-E86D7BE622B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7" name="Vrije vorm: vorm 3">
            <a:extLst>
              <a:ext uri="{FF2B5EF4-FFF2-40B4-BE49-F238E27FC236}">
                <a16:creationId xmlns:a16="http://schemas.microsoft.com/office/drawing/2014/main" id="{E60512A1-62E9-CFFE-FDCD-103B28748EFD}"/>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5" name="Slide Number Placeholder 1">
            <a:extLst>
              <a:ext uri="{FF2B5EF4-FFF2-40B4-BE49-F238E27FC236}">
                <a16:creationId xmlns:a16="http://schemas.microsoft.com/office/drawing/2014/main" id="{E326D09E-B6B9-7228-493B-A6C9E56DD05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13" name="Текст 7">
            <a:extLst>
              <a:ext uri="{FF2B5EF4-FFF2-40B4-BE49-F238E27FC236}">
                <a16:creationId xmlns:a16="http://schemas.microsoft.com/office/drawing/2014/main" id="{1AC64987-7357-3087-B86F-4C231BE3C168}"/>
              </a:ext>
            </a:extLst>
          </p:cNvPr>
          <p:cNvSpPr>
            <a:spLocks noGrp="1"/>
          </p:cNvSpPr>
          <p:nvPr>
            <p:ph type="body" sz="quarter" idx="39" hasCustomPrompt="1"/>
          </p:nvPr>
        </p:nvSpPr>
        <p:spPr>
          <a:xfrm>
            <a:off x="6096001" y="2017755"/>
            <a:ext cx="4856922"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5" name="Текст 7">
            <a:extLst>
              <a:ext uri="{FF2B5EF4-FFF2-40B4-BE49-F238E27FC236}">
                <a16:creationId xmlns:a16="http://schemas.microsoft.com/office/drawing/2014/main" id="{8B120294-5335-B394-2A42-31C94150136C}"/>
              </a:ext>
            </a:extLst>
          </p:cNvPr>
          <p:cNvSpPr>
            <a:spLocks noGrp="1"/>
          </p:cNvSpPr>
          <p:nvPr>
            <p:ph type="body" sz="quarter" idx="64" hasCustomPrompt="1"/>
          </p:nvPr>
        </p:nvSpPr>
        <p:spPr>
          <a:xfrm>
            <a:off x="927100" y="2006731"/>
            <a:ext cx="487680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43110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eft + Content righ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4570C5-D6ED-1874-B29E-CF8376564F0A}"/>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3" name="Oval 22"/>
          <p:cNvSpPr/>
          <p:nvPr/>
        </p:nvSpPr>
        <p:spPr>
          <a:xfrm>
            <a:off x="5534189" y="490371"/>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41" name="Заголовок 2"/>
          <p:cNvSpPr>
            <a:spLocks noGrp="1"/>
          </p:cNvSpPr>
          <p:nvPr>
            <p:ph type="title" hasCustomPrompt="1"/>
          </p:nvPr>
        </p:nvSpPr>
        <p:spPr>
          <a:xfrm>
            <a:off x="5631439" y="1354066"/>
            <a:ext cx="5578883" cy="335999"/>
          </a:xfrm>
          <a:prstGeom prst="rect">
            <a:avLst/>
          </a:prstGeom>
          <a:effectLst/>
        </p:spPr>
        <p:txBody>
          <a:bodyPr tIns="0" bIns="91440" anchor="t" anchorCtr="0">
            <a:no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13" name="Picture Placeholder 11"/>
          <p:cNvSpPr>
            <a:spLocks noGrp="1"/>
          </p:cNvSpPr>
          <p:nvPr>
            <p:ph type="pic" sz="quarter" idx="13" hasCustomPrompt="1"/>
          </p:nvPr>
        </p:nvSpPr>
        <p:spPr>
          <a:xfrm>
            <a:off x="1" y="1"/>
            <a:ext cx="5107220" cy="6908007"/>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2" name="Tijdelijke aanduiding voor tekst 2"/>
          <p:cNvSpPr>
            <a:spLocks noGrp="1"/>
          </p:cNvSpPr>
          <p:nvPr>
            <p:ph type="body" sz="quarter" idx="63" hasCustomPrompt="1"/>
          </p:nvPr>
        </p:nvSpPr>
        <p:spPr>
          <a:xfrm>
            <a:off x="5631440" y="1669805"/>
            <a:ext cx="5520673"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33164C62-7D89-9706-73B3-9E6C88B8FC7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4420A9F3-5748-D445-5033-735F494F8A6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
        <p:nvSpPr>
          <p:cNvPr id="6" name="Текст 7">
            <a:extLst>
              <a:ext uri="{FF2B5EF4-FFF2-40B4-BE49-F238E27FC236}">
                <a16:creationId xmlns:a16="http://schemas.microsoft.com/office/drawing/2014/main" id="{FFBB8AA7-0946-8595-618D-3DB69DD99CF1}"/>
              </a:ext>
            </a:extLst>
          </p:cNvPr>
          <p:cNvSpPr>
            <a:spLocks noGrp="1"/>
          </p:cNvSpPr>
          <p:nvPr>
            <p:ph type="body" sz="quarter" idx="64" hasCustomPrompt="1"/>
          </p:nvPr>
        </p:nvSpPr>
        <p:spPr>
          <a:xfrm>
            <a:off x="5670549" y="2835105"/>
            <a:ext cx="5554655" cy="3127545"/>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42" userDrawn="1">
          <p15:clr>
            <a:srgbClr val="FBAE40"/>
          </p15:clr>
        </p15:guide>
        <p15:guide id="2" pos="3572" userDrawn="1">
          <p15:clr>
            <a:srgbClr val="FBAE40"/>
          </p15:clr>
        </p15:guide>
        <p15:guide id="3" orient="horz" pos="178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mage left + Title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2FD3A7-DE24-832F-732A-1EB0A3F820A6}"/>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2" name="Picture Placeholder 11"/>
          <p:cNvSpPr>
            <a:spLocks noGrp="1"/>
          </p:cNvSpPr>
          <p:nvPr>
            <p:ph type="pic" sz="quarter" idx="13" hasCustomPrompt="1"/>
          </p:nvPr>
        </p:nvSpPr>
        <p:spPr>
          <a:xfrm>
            <a:off x="1" y="0"/>
            <a:ext cx="5107220" cy="6905144"/>
          </a:xfrm>
          <a:custGeom>
            <a:avLst/>
            <a:gdLst>
              <a:gd name="connsiteX0" fmla="*/ 0 w 5107220"/>
              <a:gd name="connsiteY0" fmla="*/ 0 h 6858000"/>
              <a:gd name="connsiteX1" fmla="*/ 5107220 w 5107220"/>
              <a:gd name="connsiteY1" fmla="*/ 0 h 6858000"/>
              <a:gd name="connsiteX2" fmla="*/ 5023921 w 5107220"/>
              <a:gd name="connsiteY2" fmla="*/ 96164 h 6858000"/>
              <a:gd name="connsiteX3" fmla="*/ 3827463 w 5107220"/>
              <a:gd name="connsiteY3" fmla="*/ 3429000 h 6858000"/>
              <a:gd name="connsiteX4" fmla="*/ 5023921 w 5107220"/>
              <a:gd name="connsiteY4" fmla="*/ 6761837 h 6858000"/>
              <a:gd name="connsiteX5" fmla="*/ 5107220 w 5107220"/>
              <a:gd name="connsiteY5" fmla="*/ 6858000 h 6858000"/>
              <a:gd name="connsiteX6" fmla="*/ 0 w 510722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7220" h="6858000">
                <a:moveTo>
                  <a:pt x="0" y="0"/>
                </a:moveTo>
                <a:lnTo>
                  <a:pt x="5107220" y="0"/>
                </a:lnTo>
                <a:lnTo>
                  <a:pt x="5023921" y="96164"/>
                </a:lnTo>
                <a:cubicBezTo>
                  <a:pt x="4276469" y="1001866"/>
                  <a:pt x="3827463" y="2162998"/>
                  <a:pt x="3827463" y="3429000"/>
                </a:cubicBezTo>
                <a:cubicBezTo>
                  <a:pt x="3827463" y="4695003"/>
                  <a:pt x="4276469" y="5856135"/>
                  <a:pt x="5023921" y="6761837"/>
                </a:cubicBezTo>
                <a:lnTo>
                  <a:pt x="5107220" y="6858000"/>
                </a:lnTo>
                <a:lnTo>
                  <a:pt x="0" y="6858000"/>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9" name="Заголовок 2"/>
          <p:cNvSpPr>
            <a:spLocks noGrp="1"/>
          </p:cNvSpPr>
          <p:nvPr>
            <p:ph type="title" hasCustomPrompt="1"/>
          </p:nvPr>
        </p:nvSpPr>
        <p:spPr>
          <a:xfrm>
            <a:off x="5422299" y="1748538"/>
            <a:ext cx="4620204" cy="3714497"/>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Write </a:t>
            </a:r>
            <a:br>
              <a:rPr lang="en-US"/>
            </a:br>
            <a:r>
              <a:rPr lang="en-US"/>
              <a:t>title </a:t>
            </a:r>
            <a:br>
              <a:rPr lang="en-US"/>
            </a:br>
            <a:r>
              <a:rPr lang="en-US"/>
              <a:t>here</a:t>
            </a:r>
          </a:p>
        </p:txBody>
      </p:sp>
      <p:sp>
        <p:nvSpPr>
          <p:cNvPr id="3" name="Slide Number Placeholder 1">
            <a:extLst>
              <a:ext uri="{FF2B5EF4-FFF2-40B4-BE49-F238E27FC236}">
                <a16:creationId xmlns:a16="http://schemas.microsoft.com/office/drawing/2014/main" id="{B34DBBBA-97E5-6EA8-F297-C41AE321175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 name="Picture 3" descr="A picture containing text, vector graphics&#10;&#10;Description automatically generated">
            <a:extLst>
              <a:ext uri="{FF2B5EF4-FFF2-40B4-BE49-F238E27FC236}">
                <a16:creationId xmlns:a16="http://schemas.microsoft.com/office/drawing/2014/main" id="{7312464B-42C5-3832-BC47-F83128820AF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extLst>
      <p:ext uri="{BB962C8B-B14F-4D97-AF65-F5344CB8AC3E}">
        <p14:creationId xmlns:p14="http://schemas.microsoft.com/office/powerpoint/2010/main" val="20690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circle +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A0B4A9-10F4-49DB-560C-36BBBA10989C}"/>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77C2B58-1165-7BA7-A9E9-49874BBEA7F6}"/>
              </a:ext>
            </a:extLst>
          </p:cNvPr>
          <p:cNvSpPr/>
          <p:nvPr userDrawn="1"/>
        </p:nvSpPr>
        <p:spPr>
          <a:xfrm>
            <a:off x="2467" y="0"/>
            <a:ext cx="12189533" cy="6858000"/>
          </a:xfrm>
          <a:custGeom>
            <a:avLst/>
            <a:gdLst>
              <a:gd name="connsiteX0" fmla="*/ 0 w 9142150"/>
              <a:gd name="connsiteY0" fmla="*/ 0 h 5143500"/>
              <a:gd name="connsiteX1" fmla="*/ 2920141 w 9142150"/>
              <a:gd name="connsiteY1" fmla="*/ 0 h 5143500"/>
              <a:gd name="connsiteX2" fmla="*/ 2874084 w 9142150"/>
              <a:gd name="connsiteY2" fmla="*/ 145089 h 5143500"/>
              <a:gd name="connsiteX3" fmla="*/ 3021130 w 9142150"/>
              <a:gd name="connsiteY3" fmla="*/ 2486201 h 5143500"/>
              <a:gd name="connsiteX4" fmla="*/ 7600217 w 9142150"/>
              <a:gd name="connsiteY4" fmla="*/ 4281716 h 5143500"/>
              <a:gd name="connsiteX5" fmla="*/ 8958702 w 9142150"/>
              <a:gd name="connsiteY5" fmla="*/ 3236467 h 5143500"/>
              <a:gd name="connsiteX6" fmla="*/ 9142150 w 9142150"/>
              <a:gd name="connsiteY6" fmla="*/ 2978489 h 5143500"/>
              <a:gd name="connsiteX7" fmla="*/ 9142150 w 9142150"/>
              <a:gd name="connsiteY7" fmla="*/ 5143500 h 5143500"/>
              <a:gd name="connsiteX8" fmla="*/ 714659 w 9142150"/>
              <a:gd name="connsiteY8" fmla="*/ 5143500 h 5143500"/>
              <a:gd name="connsiteX9" fmla="*/ 622705 w 9142150"/>
              <a:gd name="connsiteY9" fmla="*/ 5019234 h 5143500"/>
              <a:gd name="connsiteX10" fmla="*/ 97678 w 9142150"/>
              <a:gd name="connsiteY10" fmla="*/ 4134885 h 5143500"/>
              <a:gd name="connsiteX11" fmla="*/ 0 w 9142150"/>
              <a:gd name="connsiteY11" fmla="*/ 39244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2150" h="5143500">
                <a:moveTo>
                  <a:pt x="0" y="0"/>
                </a:moveTo>
                <a:lnTo>
                  <a:pt x="2920141" y="0"/>
                </a:lnTo>
                <a:lnTo>
                  <a:pt x="2874084" y="145089"/>
                </a:lnTo>
                <a:cubicBezTo>
                  <a:pt x="2656171" y="893084"/>
                  <a:pt x="2687757" y="1717224"/>
                  <a:pt x="3021130" y="2486201"/>
                </a:cubicBezTo>
                <a:cubicBezTo>
                  <a:pt x="3783126" y="4243864"/>
                  <a:pt x="5833255" y="5047744"/>
                  <a:pt x="7600217" y="4281716"/>
                </a:cubicBezTo>
                <a:cubicBezTo>
                  <a:pt x="8152393" y="4042332"/>
                  <a:pt x="8611573" y="3677965"/>
                  <a:pt x="8958702" y="3236467"/>
                </a:cubicBezTo>
                <a:lnTo>
                  <a:pt x="9142150" y="2978489"/>
                </a:lnTo>
                <a:lnTo>
                  <a:pt x="9142150" y="5143500"/>
                </a:lnTo>
                <a:lnTo>
                  <a:pt x="714659" y="5143500"/>
                </a:lnTo>
                <a:lnTo>
                  <a:pt x="622705" y="5019234"/>
                </a:lnTo>
                <a:cubicBezTo>
                  <a:pt x="428046" y="4741875"/>
                  <a:pt x="252191" y="4446760"/>
                  <a:pt x="97678" y="4134885"/>
                </a:cubicBezTo>
                <a:lnTo>
                  <a:pt x="0" y="3924400"/>
                </a:lnTo>
                <a:close/>
              </a:path>
            </a:pathLst>
          </a:custGeom>
          <a:gradFill>
            <a:gsLst>
              <a:gs pos="33000">
                <a:schemeClr val="tx2">
                  <a:lumMod val="95000"/>
                </a:schemeClr>
              </a:gs>
              <a:gs pos="57000">
                <a:schemeClr val="tx2"/>
              </a:gs>
            </a:gsLst>
            <a:lin ang="2700000" scaled="1"/>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7" name="Tijdelijke aanduiding voor afbeelding 6">
            <a:extLst>
              <a:ext uri="{FF2B5EF4-FFF2-40B4-BE49-F238E27FC236}">
                <a16:creationId xmlns:a16="http://schemas.microsoft.com/office/drawing/2014/main" id="{046C669F-3868-A8CA-5503-819E457B99B3}"/>
              </a:ext>
            </a:extLst>
          </p:cNvPr>
          <p:cNvSpPr>
            <a:spLocks noGrp="1"/>
          </p:cNvSpPr>
          <p:nvPr>
            <p:ph type="pic" sz="quarter" idx="14" hasCustomPrompt="1"/>
          </p:nvPr>
        </p:nvSpPr>
        <p:spPr>
          <a:xfrm>
            <a:off x="0" y="0"/>
            <a:ext cx="12192000" cy="6858000"/>
          </a:xfrm>
          <a:custGeom>
            <a:avLst/>
            <a:gdLst>
              <a:gd name="connsiteX0" fmla="*/ 9144000 w 9144000"/>
              <a:gd name="connsiteY0" fmla="*/ 4476585 h 5143500"/>
              <a:gd name="connsiteX1" fmla="*/ 9144000 w 9144000"/>
              <a:gd name="connsiteY1" fmla="*/ 5143500 h 5143500"/>
              <a:gd name="connsiteX2" fmla="*/ 8087770 w 9144000"/>
              <a:gd name="connsiteY2" fmla="*/ 5143500 h 5143500"/>
              <a:gd name="connsiteX3" fmla="*/ 8205662 w 9144000"/>
              <a:gd name="connsiteY3" fmla="*/ 5089836 h 5143500"/>
              <a:gd name="connsiteX4" fmla="*/ 9108418 w 9144000"/>
              <a:gd name="connsiteY4" fmla="*/ 4507618 h 5143500"/>
              <a:gd name="connsiteX5" fmla="*/ 0 w 9144000"/>
              <a:gd name="connsiteY5" fmla="*/ 0 h 5143500"/>
              <a:gd name="connsiteX6" fmla="*/ 1939213 w 9144000"/>
              <a:gd name="connsiteY6" fmla="*/ 0 h 5143500"/>
              <a:gd name="connsiteX7" fmla="*/ 1907031 w 9144000"/>
              <a:gd name="connsiteY7" fmla="*/ 140399 h 5143500"/>
              <a:gd name="connsiteX8" fmla="*/ 1816482 w 9144000"/>
              <a:gd name="connsiteY8" fmla="*/ 1044798 h 5143500"/>
              <a:gd name="connsiteX9" fmla="*/ 4341144 w 9144000"/>
              <a:gd name="connsiteY9" fmla="*/ 5089836 h 5143500"/>
              <a:gd name="connsiteX10" fmla="*/ 4459037 w 9144000"/>
              <a:gd name="connsiteY10" fmla="*/ 5143500 h 5143500"/>
              <a:gd name="connsiteX11" fmla="*/ 842248 w 9144000"/>
              <a:gd name="connsiteY11" fmla="*/ 5143500 h 5143500"/>
              <a:gd name="connsiteX12" fmla="*/ 834545 w 9144000"/>
              <a:gd name="connsiteY12" fmla="*/ 5133631 h 5143500"/>
              <a:gd name="connsiteX13" fmla="*/ 19535 w 9144000"/>
              <a:gd name="connsiteY13" fmla="*/ 3704861 h 5143500"/>
              <a:gd name="connsiteX14" fmla="*/ 0 w 9144000"/>
              <a:gd name="connsiteY14" fmla="*/ 365497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0" h="5143500">
                <a:moveTo>
                  <a:pt x="9144000" y="4476585"/>
                </a:moveTo>
                <a:lnTo>
                  <a:pt x="9144000" y="5143500"/>
                </a:lnTo>
                <a:lnTo>
                  <a:pt x="8087770" y="5143500"/>
                </a:lnTo>
                <a:lnTo>
                  <a:pt x="8205662" y="5089836"/>
                </a:lnTo>
                <a:cubicBezTo>
                  <a:pt x="8530406" y="4932283"/>
                  <a:pt x="8833269" y="4736252"/>
                  <a:pt x="9108418" y="4507618"/>
                </a:cubicBezTo>
                <a:close/>
                <a:moveTo>
                  <a:pt x="0" y="0"/>
                </a:moveTo>
                <a:lnTo>
                  <a:pt x="1939213" y="0"/>
                </a:lnTo>
                <a:lnTo>
                  <a:pt x="1907031" y="140399"/>
                </a:lnTo>
                <a:cubicBezTo>
                  <a:pt x="1847661" y="432528"/>
                  <a:pt x="1816482" y="734998"/>
                  <a:pt x="1816482" y="1044798"/>
                </a:cubicBezTo>
                <a:cubicBezTo>
                  <a:pt x="1816482" y="2826156"/>
                  <a:pt x="2847326" y="4365093"/>
                  <a:pt x="4341144" y="5089836"/>
                </a:cubicBezTo>
                <a:lnTo>
                  <a:pt x="4459037" y="5143500"/>
                </a:lnTo>
                <a:lnTo>
                  <a:pt x="842248" y="5143500"/>
                </a:lnTo>
                <a:lnTo>
                  <a:pt x="834545" y="5133631"/>
                </a:lnTo>
                <a:cubicBezTo>
                  <a:pt x="508826" y="4695098"/>
                  <a:pt x="234194" y="4215859"/>
                  <a:pt x="19535" y="3704861"/>
                </a:cubicBezTo>
                <a:lnTo>
                  <a:pt x="0" y="3654976"/>
                </a:lnTo>
                <a:close/>
              </a:path>
            </a:pathLst>
          </a:custGeom>
          <a:solidFill>
            <a:schemeClr val="tx1">
              <a:alpha val="10000"/>
            </a:schemeClr>
          </a:solidFill>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51" name="Заголовок 2"/>
          <p:cNvSpPr>
            <a:spLocks noGrp="1"/>
          </p:cNvSpPr>
          <p:nvPr>
            <p:ph type="title" hasCustomPrompt="1"/>
          </p:nvPr>
        </p:nvSpPr>
        <p:spPr>
          <a:xfrm>
            <a:off x="5824332" y="911108"/>
            <a:ext cx="4764977" cy="4161341"/>
          </a:xfrm>
          <a:prstGeom prst="rect">
            <a:avLst/>
          </a:prstGeom>
        </p:spPr>
        <p:txBody>
          <a:bodyPr tIns="0" bIns="91440" anchor="ctr" anchorCtr="0"/>
          <a:lstStyle>
            <a:lvl1pPr algn="l">
              <a:lnSpc>
                <a:spcPct val="80000"/>
              </a:lnSpc>
              <a:defRPr sz="4000" b="1" i="0">
                <a:solidFill>
                  <a:schemeClr val="tx1"/>
                </a:solidFill>
                <a:latin typeface="HEINEKEN Core ExtraBold" panose="02000503050000020004" pitchFamily="2" charset="0"/>
              </a:defRPr>
            </a:lvl1pPr>
          </a:lstStyle>
          <a:p>
            <a:r>
              <a:rPr lang="en-US"/>
              <a:t>Title here</a:t>
            </a:r>
          </a:p>
        </p:txBody>
      </p:sp>
      <p:sp>
        <p:nvSpPr>
          <p:cNvPr id="3" name="Slide Number Placeholder 1">
            <a:extLst>
              <a:ext uri="{FF2B5EF4-FFF2-40B4-BE49-F238E27FC236}">
                <a16:creationId xmlns:a16="http://schemas.microsoft.com/office/drawing/2014/main" id="{D9060334-FCBC-BAD6-30D8-1DBBE06E04C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131EE132-0A63-4316-2A7A-DC92194DDB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Lapto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14A298-687C-F05D-1ED9-2E77AB8DA7BA}"/>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0" name="Текст 7"/>
          <p:cNvSpPr>
            <a:spLocks noGrp="1"/>
          </p:cNvSpPr>
          <p:nvPr>
            <p:ph type="body" sz="quarter" idx="76" hasCustomPrompt="1"/>
          </p:nvPr>
        </p:nvSpPr>
        <p:spPr>
          <a:xfrm>
            <a:off x="1245306" y="3643504"/>
            <a:ext cx="3816351" cy="2271819"/>
          </a:xfrm>
          <a:prstGeom prst="rect">
            <a:avLst/>
          </a:prstGeom>
        </p:spPr>
        <p:txBody>
          <a:bodyPr tIns="0">
            <a:noAutofit/>
          </a:bodyPr>
          <a:lstStyle>
            <a:lvl1pPr marL="0" indent="0" algn="l">
              <a:lnSpc>
                <a:spcPct val="145000"/>
              </a:lnSpc>
              <a:spcBef>
                <a:spcPts val="0"/>
              </a:spcBef>
              <a:buNone/>
              <a:defRPr lang="en-US" sz="1400" b="0" i="0" baseline="0" smtClean="0">
                <a:solidFill>
                  <a:schemeClr val="tx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p:txBody>
      </p:sp>
      <p:sp>
        <p:nvSpPr>
          <p:cNvPr id="5" name="Vrije vorm: vorm 4">
            <a:extLst>
              <a:ext uri="{FF2B5EF4-FFF2-40B4-BE49-F238E27FC236}">
                <a16:creationId xmlns:a16="http://schemas.microsoft.com/office/drawing/2014/main" id="{C3C3C1AA-3FA8-5067-0D04-1514B708CAE1}"/>
              </a:ext>
            </a:extLst>
          </p:cNvPr>
          <p:cNvSpPr/>
          <p:nvPr userDrawn="1"/>
        </p:nvSpPr>
        <p:spPr>
          <a:xfrm>
            <a:off x="2467" y="1"/>
            <a:ext cx="4807859" cy="3335033"/>
          </a:xfrm>
          <a:custGeom>
            <a:avLst/>
            <a:gdLst>
              <a:gd name="connsiteX0" fmla="*/ 0 w 3605894"/>
              <a:gd name="connsiteY0" fmla="*/ 0 h 2501275"/>
              <a:gd name="connsiteX1" fmla="*/ 3605894 w 3605894"/>
              <a:gd name="connsiteY1" fmla="*/ 0 h 2501275"/>
              <a:gd name="connsiteX2" fmla="*/ 3593159 w 3605894"/>
              <a:gd name="connsiteY2" fmla="*/ 47269 h 2501275"/>
              <a:gd name="connsiteX3" fmla="*/ 3054453 w 3605894"/>
              <a:gd name="connsiteY3" fmla="*/ 1121136 h 2501275"/>
              <a:gd name="connsiteX4" fmla="*/ 126865 w 3605894"/>
              <a:gd name="connsiteY4" fmla="*/ 2497139 h 2501275"/>
              <a:gd name="connsiteX5" fmla="*/ 0 w 3605894"/>
              <a:gd name="connsiteY5" fmla="*/ 2484798 h 250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5894" h="2501275">
                <a:moveTo>
                  <a:pt x="0" y="0"/>
                </a:moveTo>
                <a:lnTo>
                  <a:pt x="3605894" y="0"/>
                </a:lnTo>
                <a:lnTo>
                  <a:pt x="3593159" y="47269"/>
                </a:lnTo>
                <a:cubicBezTo>
                  <a:pt x="3481571" y="424151"/>
                  <a:pt x="3302861" y="787884"/>
                  <a:pt x="3054453" y="1121136"/>
                </a:cubicBezTo>
                <a:cubicBezTo>
                  <a:pt x="2344717" y="2073285"/>
                  <a:pt x="1233998" y="2551261"/>
                  <a:pt x="126865" y="2497139"/>
                </a:cubicBezTo>
                <a:lnTo>
                  <a:pt x="0" y="2484798"/>
                </a:lnTo>
                <a:close/>
              </a:path>
            </a:pathLst>
          </a:cu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5" name="Заголовок 2"/>
          <p:cNvSpPr>
            <a:spLocks noGrp="1"/>
          </p:cNvSpPr>
          <p:nvPr>
            <p:ph type="title" hasCustomPrompt="1"/>
          </p:nvPr>
        </p:nvSpPr>
        <p:spPr>
          <a:xfrm>
            <a:off x="1245306" y="1467465"/>
            <a:ext cx="3816351" cy="1527540"/>
          </a:xfrm>
          <a:prstGeom prst="rect">
            <a:avLst/>
          </a:prstGeom>
          <a:effectLst/>
        </p:spPr>
        <p:txBody>
          <a:bodyPr tIns="0" bIns="91440" anchor="b" anchorCtr="0">
            <a:normAutofit/>
          </a:bodyPr>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a:t>
            </a:r>
            <a:br>
              <a:rPr lang="en-US"/>
            </a:br>
            <a:r>
              <a:rPr lang="en-US"/>
              <a:t>here</a:t>
            </a:r>
          </a:p>
        </p:txBody>
      </p:sp>
      <p:sp>
        <p:nvSpPr>
          <p:cNvPr id="19" name="Tijdelijke aanduiding voor tekst 2"/>
          <p:cNvSpPr>
            <a:spLocks noGrp="1"/>
          </p:cNvSpPr>
          <p:nvPr>
            <p:ph type="body" sz="quarter" idx="63" hasCustomPrompt="1"/>
          </p:nvPr>
        </p:nvSpPr>
        <p:spPr>
          <a:xfrm>
            <a:off x="1245306" y="2949995"/>
            <a:ext cx="381635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Vrije vorm: vorm 5">
            <a:extLst>
              <a:ext uri="{FF2B5EF4-FFF2-40B4-BE49-F238E27FC236}">
                <a16:creationId xmlns:a16="http://schemas.microsoft.com/office/drawing/2014/main" id="{31FE29ED-EE92-6A1C-1350-4138A162B58E}"/>
              </a:ext>
            </a:extLst>
          </p:cNvPr>
          <p:cNvSpPr/>
          <p:nvPr userDrawn="1"/>
        </p:nvSpPr>
        <p:spPr>
          <a:xfrm>
            <a:off x="6102081" y="856779"/>
            <a:ext cx="6089921" cy="5414295"/>
          </a:xfrm>
          <a:custGeom>
            <a:avLst/>
            <a:gdLst>
              <a:gd name="connsiteX0" fmla="*/ 225084 w 4567441"/>
              <a:gd name="connsiteY0" fmla="*/ 0 h 4060721"/>
              <a:gd name="connsiteX1" fmla="*/ 1125393 w 4567441"/>
              <a:gd name="connsiteY1" fmla="*/ 0 h 4060721"/>
              <a:gd name="connsiteX2" fmla="*/ 1125393 w 4567441"/>
              <a:gd name="connsiteY2" fmla="*/ 0 h 4060721"/>
              <a:gd name="connsiteX3" fmla="*/ 4567441 w 4567441"/>
              <a:gd name="connsiteY3" fmla="*/ 0 h 4060721"/>
              <a:gd name="connsiteX4" fmla="*/ 4567441 w 4567441"/>
              <a:gd name="connsiteY4" fmla="*/ 4060721 h 4060721"/>
              <a:gd name="connsiteX5" fmla="*/ 1125393 w 4567441"/>
              <a:gd name="connsiteY5" fmla="*/ 4060721 h 4060721"/>
              <a:gd name="connsiteX6" fmla="*/ 675238 w 4567441"/>
              <a:gd name="connsiteY6" fmla="*/ 4060721 h 4060721"/>
              <a:gd name="connsiteX7" fmla="*/ 225084 w 4567441"/>
              <a:gd name="connsiteY7" fmla="*/ 4060721 h 4060721"/>
              <a:gd name="connsiteX8" fmla="*/ 0 w 4567441"/>
              <a:gd name="connsiteY8" fmla="*/ 3837475 h 4060721"/>
              <a:gd name="connsiteX9" fmla="*/ 0 w 4567441"/>
              <a:gd name="connsiteY9" fmla="*/ 2150632 h 4060721"/>
              <a:gd name="connsiteX10" fmla="*/ 0 w 4567441"/>
              <a:gd name="connsiteY10" fmla="*/ 1910090 h 4060721"/>
              <a:gd name="connsiteX11" fmla="*/ 0 w 4567441"/>
              <a:gd name="connsiteY11" fmla="*/ 223246 h 4060721"/>
              <a:gd name="connsiteX12" fmla="*/ 225084 w 4567441"/>
              <a:gd name="connsiteY12" fmla="*/ 0 h 4060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7441" h="4060721">
                <a:moveTo>
                  <a:pt x="225084" y="0"/>
                </a:moveTo>
                <a:lnTo>
                  <a:pt x="1125393" y="0"/>
                </a:lnTo>
                <a:lnTo>
                  <a:pt x="1125393" y="0"/>
                </a:lnTo>
                <a:lnTo>
                  <a:pt x="4567441" y="0"/>
                </a:lnTo>
                <a:lnTo>
                  <a:pt x="4567441" y="4060721"/>
                </a:lnTo>
                <a:lnTo>
                  <a:pt x="1125393" y="4060721"/>
                </a:lnTo>
                <a:lnTo>
                  <a:pt x="675238" y="4060721"/>
                </a:lnTo>
                <a:lnTo>
                  <a:pt x="225084" y="4060721"/>
                </a:lnTo>
                <a:cubicBezTo>
                  <a:pt x="100774" y="4060721"/>
                  <a:pt x="0" y="3960771"/>
                  <a:pt x="0" y="3837475"/>
                </a:cubicBezTo>
                <a:lnTo>
                  <a:pt x="0" y="2150632"/>
                </a:lnTo>
                <a:lnTo>
                  <a:pt x="0" y="1910090"/>
                </a:lnTo>
                <a:lnTo>
                  <a:pt x="0" y="223246"/>
                </a:lnTo>
                <a:cubicBezTo>
                  <a:pt x="0" y="99951"/>
                  <a:pt x="100774" y="0"/>
                  <a:pt x="225084" y="0"/>
                </a:cubicBezTo>
                <a:close/>
              </a:path>
            </a:pathLst>
          </a:cu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8" name="Vrije vorm: vorm 7">
            <a:extLst>
              <a:ext uri="{FF2B5EF4-FFF2-40B4-BE49-F238E27FC236}">
                <a16:creationId xmlns:a16="http://schemas.microsoft.com/office/drawing/2014/main" id="{11F7275A-5232-3598-100F-2D76F32048BB}"/>
              </a:ext>
            </a:extLst>
          </p:cNvPr>
          <p:cNvSpPr/>
          <p:nvPr userDrawn="1"/>
        </p:nvSpPr>
        <p:spPr>
          <a:xfrm>
            <a:off x="5250039" y="6341791"/>
            <a:ext cx="6939493" cy="76176"/>
          </a:xfrm>
          <a:custGeom>
            <a:avLst/>
            <a:gdLst>
              <a:gd name="connsiteX0" fmla="*/ 0 w 5204620"/>
              <a:gd name="connsiteY0" fmla="*/ 0 h 57132"/>
              <a:gd name="connsiteX1" fmla="*/ 5204620 w 5204620"/>
              <a:gd name="connsiteY1" fmla="*/ 0 h 57132"/>
              <a:gd name="connsiteX2" fmla="*/ 5204620 w 5204620"/>
              <a:gd name="connsiteY2" fmla="*/ 57132 h 57132"/>
              <a:gd name="connsiteX3" fmla="*/ 172501 w 5204620"/>
              <a:gd name="connsiteY3" fmla="*/ 57132 h 57132"/>
              <a:gd name="connsiteX4" fmla="*/ 4753 w 5204620"/>
              <a:gd name="connsiteY4" fmla="*/ 6915 h 57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620" h="57132">
                <a:moveTo>
                  <a:pt x="0" y="0"/>
                </a:moveTo>
                <a:lnTo>
                  <a:pt x="5204620" y="0"/>
                </a:lnTo>
                <a:lnTo>
                  <a:pt x="5204620" y="57132"/>
                </a:lnTo>
                <a:lnTo>
                  <a:pt x="172501" y="57132"/>
                </a:lnTo>
                <a:cubicBezTo>
                  <a:pt x="97092" y="57132"/>
                  <a:pt x="32391" y="36426"/>
                  <a:pt x="4753" y="6915"/>
                </a:cubicBezTo>
                <a:close/>
              </a:path>
            </a:pathLst>
          </a:custGeom>
          <a:gradFill flip="none" rotWithShape="1">
            <a:gsLst>
              <a:gs pos="89000">
                <a:srgbClr val="828282"/>
              </a:gs>
              <a:gs pos="0">
                <a:srgbClr val="C5C5C5"/>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9" name="Vrije vorm: vorm 8">
            <a:extLst>
              <a:ext uri="{FF2B5EF4-FFF2-40B4-BE49-F238E27FC236}">
                <a16:creationId xmlns:a16="http://schemas.microsoft.com/office/drawing/2014/main" id="{B7F5ECE4-6568-1C6D-BEBC-BF39E82C6203}"/>
              </a:ext>
            </a:extLst>
          </p:cNvPr>
          <p:cNvSpPr/>
          <p:nvPr userDrawn="1"/>
        </p:nvSpPr>
        <p:spPr>
          <a:xfrm>
            <a:off x="5250041" y="6155325"/>
            <a:ext cx="6941961" cy="186467"/>
          </a:xfrm>
          <a:custGeom>
            <a:avLst/>
            <a:gdLst>
              <a:gd name="connsiteX0" fmla="*/ 0 w 5206471"/>
              <a:gd name="connsiteY0" fmla="*/ 0 h 139850"/>
              <a:gd name="connsiteX1" fmla="*/ 5206471 w 5206471"/>
              <a:gd name="connsiteY1" fmla="*/ 0 h 139850"/>
              <a:gd name="connsiteX2" fmla="*/ 5206471 w 5206471"/>
              <a:gd name="connsiteY2" fmla="*/ 139850 h 139850"/>
              <a:gd name="connsiteX3" fmla="*/ 0 w 5206471"/>
              <a:gd name="connsiteY3" fmla="*/ 139850 h 139850"/>
            </a:gdLst>
            <a:ahLst/>
            <a:cxnLst>
              <a:cxn ang="0">
                <a:pos x="connsiteX0" y="connsiteY0"/>
              </a:cxn>
              <a:cxn ang="0">
                <a:pos x="connsiteX1" y="connsiteY1"/>
              </a:cxn>
              <a:cxn ang="0">
                <a:pos x="connsiteX2" y="connsiteY2"/>
              </a:cxn>
              <a:cxn ang="0">
                <a:pos x="connsiteX3" y="connsiteY3"/>
              </a:cxn>
            </a:cxnLst>
            <a:rect l="l" t="t" r="r" b="b"/>
            <a:pathLst>
              <a:path w="5206471" h="139850">
                <a:moveTo>
                  <a:pt x="0" y="0"/>
                </a:moveTo>
                <a:lnTo>
                  <a:pt x="5206471" y="0"/>
                </a:lnTo>
                <a:lnTo>
                  <a:pt x="5206471" y="139850"/>
                </a:lnTo>
                <a:lnTo>
                  <a:pt x="0" y="139850"/>
                </a:lnTo>
                <a:close/>
              </a:path>
            </a:pathLst>
          </a:custGeom>
          <a:gradFill flip="none" rotWithShape="1">
            <a:gsLst>
              <a:gs pos="2000">
                <a:srgbClr val="D5D5D5"/>
              </a:gs>
              <a:gs pos="1000">
                <a:srgbClr val="F2F2F2"/>
              </a:gs>
              <a:gs pos="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3"/>
          </a:p>
        </p:txBody>
      </p:sp>
      <p:sp>
        <p:nvSpPr>
          <p:cNvPr id="10" name="Полилиния 37">
            <a:extLst>
              <a:ext uri="{FF2B5EF4-FFF2-40B4-BE49-F238E27FC236}">
                <a16:creationId xmlns:a16="http://schemas.microsoft.com/office/drawing/2014/main" id="{FDF5E067-A609-FFE2-354E-678CF1D006AD}"/>
              </a:ext>
            </a:extLst>
          </p:cNvPr>
          <p:cNvSpPr/>
          <p:nvPr userDrawn="1"/>
        </p:nvSpPr>
        <p:spPr>
          <a:xfrm>
            <a:off x="9437123" y="6158403"/>
            <a:ext cx="1351391" cy="106495"/>
          </a:xfrm>
          <a:custGeom>
            <a:avLst/>
            <a:gdLst>
              <a:gd name="connsiteX0" fmla="*/ 0 w 2673572"/>
              <a:gd name="connsiteY0" fmla="*/ 0 h 212424"/>
              <a:gd name="connsiteX1" fmla="*/ 2673572 w 2673572"/>
              <a:gd name="connsiteY1" fmla="*/ 0 h 212424"/>
              <a:gd name="connsiteX2" fmla="*/ 2662629 w 2673572"/>
              <a:gd name="connsiteY2" fmla="*/ 54207 h 212424"/>
              <a:gd name="connsiteX3" fmla="*/ 2423935 w 2673572"/>
              <a:gd name="connsiteY3" fmla="*/ 212424 h 212424"/>
              <a:gd name="connsiteX4" fmla="*/ 249637 w 2673572"/>
              <a:gd name="connsiteY4" fmla="*/ 212424 h 212424"/>
              <a:gd name="connsiteX5" fmla="*/ 10944 w 2673572"/>
              <a:gd name="connsiteY5" fmla="*/ 54207 h 2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572" h="212424">
                <a:moveTo>
                  <a:pt x="0" y="0"/>
                </a:moveTo>
                <a:lnTo>
                  <a:pt x="2673572" y="0"/>
                </a:lnTo>
                <a:lnTo>
                  <a:pt x="2662629" y="54207"/>
                </a:lnTo>
                <a:cubicBezTo>
                  <a:pt x="2623302" y="147185"/>
                  <a:pt x="2531237" y="212424"/>
                  <a:pt x="2423935" y="212424"/>
                </a:cubicBezTo>
                <a:lnTo>
                  <a:pt x="249637" y="212424"/>
                </a:lnTo>
                <a:cubicBezTo>
                  <a:pt x="142335" y="212424"/>
                  <a:pt x="50270" y="147185"/>
                  <a:pt x="10944" y="54207"/>
                </a:cubicBezTo>
                <a:close/>
              </a:path>
            </a:pathLst>
          </a:custGeom>
          <a:gradFill>
            <a:gsLst>
              <a:gs pos="88000">
                <a:srgbClr val="F2F2F2"/>
              </a:gs>
              <a:gs pos="12000">
                <a:srgbClr val="F2F2F2"/>
              </a:gs>
              <a:gs pos="100000">
                <a:srgbClr val="828282"/>
              </a:gs>
              <a:gs pos="0">
                <a:srgbClr val="82828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nvGrpSpPr>
          <p:cNvPr id="11" name="Группа 26">
            <a:extLst>
              <a:ext uri="{FF2B5EF4-FFF2-40B4-BE49-F238E27FC236}">
                <a16:creationId xmlns:a16="http://schemas.microsoft.com/office/drawing/2014/main" id="{D25ED25C-F893-6672-5776-50F2EA4316E9}"/>
              </a:ext>
            </a:extLst>
          </p:cNvPr>
          <p:cNvGrpSpPr/>
          <p:nvPr userDrawn="1"/>
        </p:nvGrpSpPr>
        <p:grpSpPr>
          <a:xfrm flipH="1">
            <a:off x="10118624" y="1029942"/>
            <a:ext cx="23483" cy="22921"/>
            <a:chOff x="13422299" y="954496"/>
            <a:chExt cx="127026" cy="125005"/>
          </a:xfrm>
        </p:grpSpPr>
        <p:sp>
          <p:nvSpPr>
            <p:cNvPr id="12" name="Овал 29">
              <a:extLst>
                <a:ext uri="{FF2B5EF4-FFF2-40B4-BE49-F238E27FC236}">
                  <a16:creationId xmlns:a16="http://schemas.microsoft.com/office/drawing/2014/main" id="{9860DAC6-6DB0-CED4-F276-11C8B02AF281}"/>
                </a:ext>
              </a:extLst>
            </p:cNvPr>
            <p:cNvSpPr/>
            <p:nvPr/>
          </p:nvSpPr>
          <p:spPr>
            <a:xfrm>
              <a:off x="13422301" y="954496"/>
              <a:ext cx="127023" cy="125004"/>
            </a:xfrm>
            <a:prstGeom prst="ellipse">
              <a:avLst/>
            </a:prstGeom>
            <a:solidFill>
              <a:schemeClr val="bg1"/>
            </a:solidFill>
            <a:ln w="508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sp>
          <p:nvSpPr>
            <p:cNvPr id="13" name="Овал 33">
              <a:extLst>
                <a:ext uri="{FF2B5EF4-FFF2-40B4-BE49-F238E27FC236}">
                  <a16:creationId xmlns:a16="http://schemas.microsoft.com/office/drawing/2014/main" id="{E6DEF685-C3A1-BC46-16CD-972A161E61F2}"/>
                </a:ext>
              </a:extLst>
            </p:cNvPr>
            <p:cNvSpPr/>
            <p:nvPr/>
          </p:nvSpPr>
          <p:spPr>
            <a:xfrm>
              <a:off x="13422299" y="954497"/>
              <a:ext cx="127026" cy="125004"/>
            </a:xfrm>
            <a:prstGeom prst="ellipse">
              <a:avLst/>
            </a:prstGeom>
            <a:solidFill>
              <a:srgbClr val="00206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3"/>
            </a:p>
          </p:txBody>
        </p:sp>
      </p:grpSp>
      <p:sp>
        <p:nvSpPr>
          <p:cNvPr id="14" name="Рисунок 13">
            <a:extLst>
              <a:ext uri="{FF2B5EF4-FFF2-40B4-BE49-F238E27FC236}">
                <a16:creationId xmlns:a16="http://schemas.microsoft.com/office/drawing/2014/main" id="{64BB592F-4F1D-A710-2B5A-64CBEABBCCDF}"/>
              </a:ext>
            </a:extLst>
          </p:cNvPr>
          <p:cNvSpPr>
            <a:spLocks noGrp="1"/>
          </p:cNvSpPr>
          <p:nvPr>
            <p:ph type="pic" sz="quarter" idx="39" hasCustomPrompt="1"/>
          </p:nvPr>
        </p:nvSpPr>
        <p:spPr>
          <a:xfrm>
            <a:off x="6359105" y="1222085"/>
            <a:ext cx="5832896" cy="4693237"/>
          </a:xfrm>
          <a:prstGeom prst="rect">
            <a:avLst/>
          </a:prstGeom>
          <a:solidFill>
            <a:schemeClr val="tx1">
              <a:alpha val="10000"/>
            </a:schemeClr>
          </a:solidFill>
          <a:ln w="3175">
            <a:noFill/>
          </a:ln>
        </p:spPr>
        <p:txBody>
          <a:bodyPr anchor="ctr">
            <a:normAutofit/>
          </a:bodyPr>
          <a:lstStyle>
            <a:lvl1pPr marL="0" indent="0" algn="ctr">
              <a:buNone/>
              <a:defRPr sz="1100" b="0" baseline="0">
                <a:solidFill>
                  <a:schemeClr val="tx1">
                    <a:lumMod val="50000"/>
                    <a:lumOff val="50000"/>
                  </a:schemeClr>
                </a:solidFill>
              </a:defRPr>
            </a:lvl1pPr>
          </a:lstStyle>
          <a:p>
            <a:r>
              <a:rPr lang="en-US"/>
              <a:t>Drag and drop </a:t>
            </a:r>
          </a:p>
          <a:p>
            <a:r>
              <a:rPr lang="en-US"/>
              <a:t>image here</a:t>
            </a:r>
          </a:p>
        </p:txBody>
      </p:sp>
      <p:sp>
        <p:nvSpPr>
          <p:cNvPr id="2" name="Slide Number Placeholder 1">
            <a:extLst>
              <a:ext uri="{FF2B5EF4-FFF2-40B4-BE49-F238E27FC236}">
                <a16:creationId xmlns:a16="http://schemas.microsoft.com/office/drawing/2014/main" id="{8BD22B0D-A2AB-7C36-C2A8-426A5A9686C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phone left + Title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2686540-9C18-BA33-D434-F380F61EFFA3}"/>
              </a:ext>
            </a:extLst>
          </p:cNvPr>
          <p:cNvPicPr>
            <a:picLocks noChangeAspect="1"/>
          </p:cNvPicPr>
          <p:nvPr userDrawn="1"/>
        </p:nvPicPr>
        <p:blipFill>
          <a:blip r:embed="rId2">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6" name="Vrije vorm: vorm 5">
            <a:extLst>
              <a:ext uri="{FF2B5EF4-FFF2-40B4-BE49-F238E27FC236}">
                <a16:creationId xmlns:a16="http://schemas.microsoft.com/office/drawing/2014/main" id="{B0164817-297F-37F3-A6AD-A2D5DAFFA7E7}"/>
              </a:ext>
            </a:extLst>
          </p:cNvPr>
          <p:cNvSpPr/>
          <p:nvPr userDrawn="1"/>
        </p:nvSpPr>
        <p:spPr>
          <a:xfrm rot="20476553">
            <a:off x="3359286" y="-993039"/>
            <a:ext cx="9766751" cy="8957368"/>
          </a:xfrm>
          <a:custGeom>
            <a:avLst/>
            <a:gdLst>
              <a:gd name="connsiteX0" fmla="*/ 1876643 w 7325063"/>
              <a:gd name="connsiteY0" fmla="*/ 0 h 6718026"/>
              <a:gd name="connsiteX1" fmla="*/ 7325063 w 7325063"/>
              <a:gd name="connsiteY1" fmla="*/ 1846745 h 6718026"/>
              <a:gd name="connsiteX2" fmla="*/ 5673939 w 7325063"/>
              <a:gd name="connsiteY2" fmla="*/ 6718026 h 6718026"/>
              <a:gd name="connsiteX3" fmla="*/ 342234 w 7325063"/>
              <a:gd name="connsiteY3" fmla="*/ 4910842 h 6718026"/>
              <a:gd name="connsiteX4" fmla="*/ 307991 w 7325063"/>
              <a:gd name="connsiteY4" fmla="*/ 4840132 h 6718026"/>
              <a:gd name="connsiteX5" fmla="*/ 0 w 7325063"/>
              <a:gd name="connsiteY5" fmla="*/ 3322628 h 6718026"/>
              <a:gd name="connsiteX6" fmla="*/ 1727941 w 7325063"/>
              <a:gd name="connsiteY6" fmla="*/ 89864 h 671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5063" h="6718026">
                <a:moveTo>
                  <a:pt x="1876643" y="0"/>
                </a:moveTo>
                <a:lnTo>
                  <a:pt x="7325063" y="1846745"/>
                </a:lnTo>
                <a:lnTo>
                  <a:pt x="5673939" y="6718026"/>
                </a:lnTo>
                <a:lnTo>
                  <a:pt x="342234" y="4910842"/>
                </a:lnTo>
                <a:lnTo>
                  <a:pt x="307991" y="4840132"/>
                </a:lnTo>
                <a:cubicBezTo>
                  <a:pt x="109668" y="4373712"/>
                  <a:pt x="0" y="3860910"/>
                  <a:pt x="0" y="3322628"/>
                </a:cubicBezTo>
                <a:cubicBezTo>
                  <a:pt x="0" y="1976924"/>
                  <a:pt x="685425" y="790467"/>
                  <a:pt x="1727941" y="89864"/>
                </a:cubicBezTo>
                <a:close/>
              </a:path>
            </a:pathLst>
          </a:custGeom>
          <a:gradFill flip="none" rotWithShape="1">
            <a:gsLst>
              <a:gs pos="57000">
                <a:schemeClr val="tx2"/>
              </a:gs>
              <a:gs pos="21000">
                <a:schemeClr val="tx2">
                  <a:lumMod val="95000"/>
                </a:schemeClr>
              </a:gs>
            </a:gsLst>
            <a:lin ang="72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38" name="Oval 37"/>
          <p:cNvSpPr/>
          <p:nvPr/>
        </p:nvSpPr>
        <p:spPr>
          <a:xfrm>
            <a:off x="2279651" y="851534"/>
            <a:ext cx="5578883" cy="5549524"/>
          </a:xfrm>
          <a:prstGeom prst="ellipse">
            <a:avLst/>
          </a:prstGeom>
          <a:noFill/>
          <a:ln w="6350">
            <a:solidFill>
              <a:schemeClr val="tx1">
                <a:alpha val="10000"/>
              </a:schemeClr>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700"/>
          </a:p>
        </p:txBody>
      </p:sp>
      <p:sp>
        <p:nvSpPr>
          <p:cNvPr id="27" name="Заголовок 2"/>
          <p:cNvSpPr>
            <a:spLocks noGrp="1"/>
          </p:cNvSpPr>
          <p:nvPr>
            <p:ph type="title" hasCustomPrompt="1"/>
          </p:nvPr>
        </p:nvSpPr>
        <p:spPr>
          <a:xfrm>
            <a:off x="5817687" y="1610379"/>
            <a:ext cx="5415463" cy="1383055"/>
          </a:xfrm>
          <a:prstGeom prst="rect">
            <a:avLst/>
          </a:prstGeom>
          <a:effectLst/>
        </p:spPr>
        <p:txBody>
          <a:bodyPr tIns="0" bIns="91440" anchor="b"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21" name="Tijdelijke aanduiding voor tekst 2"/>
          <p:cNvSpPr>
            <a:spLocks noGrp="1"/>
          </p:cNvSpPr>
          <p:nvPr>
            <p:ph type="body" sz="quarter" idx="63" hasCustomPrompt="1"/>
          </p:nvPr>
        </p:nvSpPr>
        <p:spPr>
          <a:xfrm>
            <a:off x="5817688" y="2949294"/>
            <a:ext cx="5415461"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D0753371-17F1-5B8E-BC75-9861AE7F0C78}"/>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41" name="Picture 40" descr="A picture containing text, vector graphics&#10;&#10;Description automatically generated">
            <a:extLst>
              <a:ext uri="{FF2B5EF4-FFF2-40B4-BE49-F238E27FC236}">
                <a16:creationId xmlns:a16="http://schemas.microsoft.com/office/drawing/2014/main" id="{C2EEB87F-244B-9460-1117-42A37BFCD04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grpSp>
        <p:nvGrpSpPr>
          <p:cNvPr id="42" name="Graphic 6">
            <a:extLst>
              <a:ext uri="{FF2B5EF4-FFF2-40B4-BE49-F238E27FC236}">
                <a16:creationId xmlns:a16="http://schemas.microsoft.com/office/drawing/2014/main" id="{B70CDB44-E884-EE12-BE06-3DA0B322F03B}"/>
              </a:ext>
            </a:extLst>
          </p:cNvPr>
          <p:cNvGrpSpPr/>
          <p:nvPr userDrawn="1"/>
        </p:nvGrpSpPr>
        <p:grpSpPr>
          <a:xfrm>
            <a:off x="1294169" y="697372"/>
            <a:ext cx="2804196" cy="5658979"/>
            <a:chOff x="3633979" y="678942"/>
            <a:chExt cx="1876040" cy="3785924"/>
          </a:xfrm>
        </p:grpSpPr>
        <p:sp>
          <p:nvSpPr>
            <p:cNvPr id="44" name="Freeform 43">
              <a:extLst>
                <a:ext uri="{FF2B5EF4-FFF2-40B4-BE49-F238E27FC236}">
                  <a16:creationId xmlns:a16="http://schemas.microsoft.com/office/drawing/2014/main" id="{E53DFFD6-2633-3E30-F755-9A6B89AABEE6}"/>
                </a:ext>
              </a:extLst>
            </p:cNvPr>
            <p:cNvSpPr/>
            <p:nvPr/>
          </p:nvSpPr>
          <p:spPr>
            <a:xfrm>
              <a:off x="3633979" y="678942"/>
              <a:ext cx="1876040" cy="3785924"/>
            </a:xfrm>
            <a:custGeom>
              <a:avLst/>
              <a:gdLst>
                <a:gd name="connsiteX0" fmla="*/ 1620820 w 1876040"/>
                <a:gd name="connsiteY0" fmla="*/ 0 h 3785924"/>
                <a:gd name="connsiteX1" fmla="*/ 255220 w 1876040"/>
                <a:gd name="connsiteY1" fmla="*/ 0 h 3785924"/>
                <a:gd name="connsiteX2" fmla="*/ 0 w 1876040"/>
                <a:gd name="connsiteY2" fmla="*/ 255220 h 3785924"/>
                <a:gd name="connsiteX3" fmla="*/ 0 w 1876040"/>
                <a:gd name="connsiteY3" fmla="*/ 3530704 h 3785924"/>
                <a:gd name="connsiteX4" fmla="*/ 255220 w 1876040"/>
                <a:gd name="connsiteY4" fmla="*/ 3785925 h 3785924"/>
                <a:gd name="connsiteX5" fmla="*/ 1620820 w 1876040"/>
                <a:gd name="connsiteY5" fmla="*/ 3785925 h 3785924"/>
                <a:gd name="connsiteX6" fmla="*/ 1876040 w 1876040"/>
                <a:gd name="connsiteY6" fmla="*/ 3530704 h 3785924"/>
                <a:gd name="connsiteX7" fmla="*/ 1876040 w 1876040"/>
                <a:gd name="connsiteY7" fmla="*/ 255272 h 3785924"/>
                <a:gd name="connsiteX8" fmla="*/ 1620871 w 1876040"/>
                <a:gd name="connsiteY8" fmla="*/ 0 h 3785924"/>
                <a:gd name="connsiteX9" fmla="*/ 1620820 w 1876040"/>
                <a:gd name="connsiteY9" fmla="*/ 0 h 3785924"/>
                <a:gd name="connsiteX10" fmla="*/ 1868994 w 1876040"/>
                <a:gd name="connsiteY10" fmla="*/ 3506993 h 3785924"/>
                <a:gd name="connsiteX11" fmla="*/ 1857009 w 1876040"/>
                <a:gd name="connsiteY11" fmla="*/ 3583220 h 3785924"/>
                <a:gd name="connsiteX12" fmla="*/ 1855158 w 1876040"/>
                <a:gd name="connsiteY12" fmla="*/ 3588723 h 3785924"/>
                <a:gd name="connsiteX13" fmla="*/ 1853152 w 1876040"/>
                <a:gd name="connsiteY13" fmla="*/ 3594175 h 3785924"/>
                <a:gd name="connsiteX14" fmla="*/ 1851609 w 1876040"/>
                <a:gd name="connsiteY14" fmla="*/ 3598238 h 3785924"/>
                <a:gd name="connsiteX15" fmla="*/ 1846465 w 1876040"/>
                <a:gd name="connsiteY15" fmla="*/ 3610171 h 3785924"/>
                <a:gd name="connsiteX16" fmla="*/ 1843996 w 1876040"/>
                <a:gd name="connsiteY16" fmla="*/ 3615315 h 3785924"/>
                <a:gd name="connsiteX17" fmla="*/ 1840396 w 1876040"/>
                <a:gd name="connsiteY17" fmla="*/ 3622464 h 3785924"/>
                <a:gd name="connsiteX18" fmla="*/ 1837824 w 1876040"/>
                <a:gd name="connsiteY18" fmla="*/ 3627196 h 3785924"/>
                <a:gd name="connsiteX19" fmla="*/ 1834995 w 1876040"/>
                <a:gd name="connsiteY19" fmla="*/ 3632340 h 3785924"/>
                <a:gd name="connsiteX20" fmla="*/ 1826508 w 1876040"/>
                <a:gd name="connsiteY20" fmla="*/ 3645816 h 3785924"/>
                <a:gd name="connsiteX21" fmla="*/ 1823576 w 1876040"/>
                <a:gd name="connsiteY21" fmla="*/ 3649982 h 3785924"/>
                <a:gd name="connsiteX22" fmla="*/ 1820233 w 1876040"/>
                <a:gd name="connsiteY22" fmla="*/ 3654560 h 3785924"/>
                <a:gd name="connsiteX23" fmla="*/ 1816838 w 1876040"/>
                <a:gd name="connsiteY23" fmla="*/ 3659137 h 3785924"/>
                <a:gd name="connsiteX24" fmla="*/ 1813289 w 1876040"/>
                <a:gd name="connsiteY24" fmla="*/ 3663561 h 3785924"/>
                <a:gd name="connsiteX25" fmla="*/ 1809586 w 1876040"/>
                <a:gd name="connsiteY25" fmla="*/ 3667984 h 3785924"/>
                <a:gd name="connsiteX26" fmla="*/ 1801974 w 1876040"/>
                <a:gd name="connsiteY26" fmla="*/ 3676471 h 3785924"/>
                <a:gd name="connsiteX27" fmla="*/ 1789578 w 1876040"/>
                <a:gd name="connsiteY27" fmla="*/ 3688867 h 3785924"/>
                <a:gd name="connsiteX28" fmla="*/ 1785720 w 1876040"/>
                <a:gd name="connsiteY28" fmla="*/ 3692364 h 3785924"/>
                <a:gd name="connsiteX29" fmla="*/ 1776616 w 1876040"/>
                <a:gd name="connsiteY29" fmla="*/ 3700183 h 3785924"/>
                <a:gd name="connsiteX30" fmla="*/ 1772553 w 1876040"/>
                <a:gd name="connsiteY30" fmla="*/ 3703320 h 3785924"/>
                <a:gd name="connsiteX31" fmla="*/ 1758665 w 1876040"/>
                <a:gd name="connsiteY31" fmla="*/ 3713350 h 3785924"/>
                <a:gd name="connsiteX32" fmla="*/ 1753882 w 1876040"/>
                <a:gd name="connsiteY32" fmla="*/ 3716436 h 3785924"/>
                <a:gd name="connsiteX33" fmla="*/ 1744058 w 1876040"/>
                <a:gd name="connsiteY33" fmla="*/ 3722403 h 3785924"/>
                <a:gd name="connsiteX34" fmla="*/ 1738915 w 1876040"/>
                <a:gd name="connsiteY34" fmla="*/ 3725129 h 3785924"/>
                <a:gd name="connsiteX35" fmla="*/ 1722558 w 1876040"/>
                <a:gd name="connsiteY35" fmla="*/ 3733255 h 3785924"/>
                <a:gd name="connsiteX36" fmla="*/ 1718135 w 1876040"/>
                <a:gd name="connsiteY36" fmla="*/ 3735210 h 3785924"/>
                <a:gd name="connsiteX37" fmla="*/ 1712991 w 1876040"/>
                <a:gd name="connsiteY37" fmla="*/ 3737422 h 3785924"/>
                <a:gd name="connsiteX38" fmla="*/ 1707848 w 1876040"/>
                <a:gd name="connsiteY38" fmla="*/ 3739530 h 3785924"/>
                <a:gd name="connsiteX39" fmla="*/ 1695606 w 1876040"/>
                <a:gd name="connsiteY39" fmla="*/ 3743748 h 3785924"/>
                <a:gd name="connsiteX40" fmla="*/ 1691234 w 1876040"/>
                <a:gd name="connsiteY40" fmla="*/ 3745085 h 3785924"/>
                <a:gd name="connsiteX41" fmla="*/ 1674724 w 1876040"/>
                <a:gd name="connsiteY41" fmla="*/ 3749355 h 3785924"/>
                <a:gd name="connsiteX42" fmla="*/ 1668860 w 1876040"/>
                <a:gd name="connsiteY42" fmla="*/ 3750589 h 3785924"/>
                <a:gd name="connsiteX43" fmla="*/ 1662585 w 1876040"/>
                <a:gd name="connsiteY43" fmla="*/ 3751720 h 3785924"/>
                <a:gd name="connsiteX44" fmla="*/ 1650961 w 1876040"/>
                <a:gd name="connsiteY44" fmla="*/ 3753418 h 3785924"/>
                <a:gd name="connsiteX45" fmla="*/ 1650961 w 1876040"/>
                <a:gd name="connsiteY45" fmla="*/ 3753418 h 3785924"/>
                <a:gd name="connsiteX46" fmla="*/ 1648697 w 1876040"/>
                <a:gd name="connsiteY46" fmla="*/ 3753418 h 3785924"/>
                <a:gd name="connsiteX47" fmla="*/ 1647051 w 1876040"/>
                <a:gd name="connsiteY47" fmla="*/ 3753418 h 3785924"/>
                <a:gd name="connsiteX48" fmla="*/ 1646383 w 1876040"/>
                <a:gd name="connsiteY48" fmla="*/ 3753418 h 3785924"/>
                <a:gd name="connsiteX49" fmla="*/ 1656670 w 1876040"/>
                <a:gd name="connsiteY49" fmla="*/ 3751978 h 3785924"/>
                <a:gd name="connsiteX50" fmla="*/ 1661813 w 1876040"/>
                <a:gd name="connsiteY50" fmla="*/ 3751103 h 3785924"/>
                <a:gd name="connsiteX51" fmla="*/ 1666957 w 1876040"/>
                <a:gd name="connsiteY51" fmla="*/ 3750126 h 3785924"/>
                <a:gd name="connsiteX52" fmla="*/ 1682079 w 1876040"/>
                <a:gd name="connsiteY52" fmla="*/ 3746423 h 3785924"/>
                <a:gd name="connsiteX53" fmla="*/ 1687222 w 1876040"/>
                <a:gd name="connsiteY53" fmla="*/ 3744931 h 3785924"/>
                <a:gd name="connsiteX54" fmla="*/ 1696892 w 1876040"/>
                <a:gd name="connsiteY54" fmla="*/ 3741742 h 3785924"/>
                <a:gd name="connsiteX55" fmla="*/ 1711140 w 1876040"/>
                <a:gd name="connsiteY55" fmla="*/ 3736033 h 3785924"/>
                <a:gd name="connsiteX56" fmla="*/ 1715769 w 1876040"/>
                <a:gd name="connsiteY56" fmla="*/ 3733975 h 3785924"/>
                <a:gd name="connsiteX57" fmla="*/ 1720295 w 1876040"/>
                <a:gd name="connsiteY57" fmla="*/ 3731764 h 3785924"/>
                <a:gd name="connsiteX58" fmla="*/ 1729296 w 1876040"/>
                <a:gd name="connsiteY58" fmla="*/ 3727083 h 3785924"/>
                <a:gd name="connsiteX59" fmla="*/ 1738040 w 1876040"/>
                <a:gd name="connsiteY59" fmla="*/ 3721940 h 3785924"/>
                <a:gd name="connsiteX60" fmla="*/ 1745755 w 1876040"/>
                <a:gd name="connsiteY60" fmla="*/ 3716796 h 3785924"/>
                <a:gd name="connsiteX61" fmla="*/ 1746527 w 1876040"/>
                <a:gd name="connsiteY61" fmla="*/ 3716282 h 3785924"/>
                <a:gd name="connsiteX62" fmla="*/ 1758717 w 1876040"/>
                <a:gd name="connsiteY62" fmla="*/ 3707383 h 3785924"/>
                <a:gd name="connsiteX63" fmla="*/ 1762678 w 1876040"/>
                <a:gd name="connsiteY63" fmla="*/ 3704246 h 3785924"/>
                <a:gd name="connsiteX64" fmla="*/ 1773479 w 1876040"/>
                <a:gd name="connsiteY64" fmla="*/ 3694936 h 3785924"/>
                <a:gd name="connsiteX65" fmla="*/ 1797396 w 1876040"/>
                <a:gd name="connsiteY65" fmla="*/ 3669219 h 3785924"/>
                <a:gd name="connsiteX66" fmla="*/ 1800482 w 1876040"/>
                <a:gd name="connsiteY66" fmla="*/ 3665258 h 3785924"/>
                <a:gd name="connsiteX67" fmla="*/ 1827022 w 1876040"/>
                <a:gd name="connsiteY67" fmla="*/ 3620047 h 3785924"/>
                <a:gd name="connsiteX68" fmla="*/ 1830212 w 1876040"/>
                <a:gd name="connsiteY68" fmla="*/ 3612229 h 3785924"/>
                <a:gd name="connsiteX69" fmla="*/ 1841785 w 1876040"/>
                <a:gd name="connsiteY69" fmla="*/ 3572367 h 3785924"/>
                <a:gd name="connsiteX70" fmla="*/ 1843225 w 1876040"/>
                <a:gd name="connsiteY70" fmla="*/ 3564189 h 3785924"/>
                <a:gd name="connsiteX71" fmla="*/ 1845745 w 1876040"/>
                <a:gd name="connsiteY71" fmla="*/ 3530242 h 3785924"/>
                <a:gd name="connsiteX72" fmla="*/ 1845745 w 1876040"/>
                <a:gd name="connsiteY72" fmla="*/ 255272 h 3785924"/>
                <a:gd name="connsiteX73" fmla="*/ 1645148 w 1876040"/>
                <a:gd name="connsiteY73" fmla="*/ 31993 h 3785924"/>
                <a:gd name="connsiteX74" fmla="*/ 1639131 w 1876040"/>
                <a:gd name="connsiteY74" fmla="*/ 31478 h 3785924"/>
                <a:gd name="connsiteX75" fmla="*/ 1632958 w 1876040"/>
                <a:gd name="connsiteY75" fmla="*/ 31118 h 3785924"/>
                <a:gd name="connsiteX76" fmla="*/ 1632958 w 1876040"/>
                <a:gd name="connsiteY76" fmla="*/ 31118 h 3785924"/>
                <a:gd name="connsiteX77" fmla="*/ 1621437 w 1876040"/>
                <a:gd name="connsiteY77" fmla="*/ 30810 h 3785924"/>
                <a:gd name="connsiteX78" fmla="*/ 255272 w 1876040"/>
                <a:gd name="connsiteY78" fmla="*/ 30810 h 3785924"/>
                <a:gd name="connsiteX79" fmla="*/ 243750 w 1876040"/>
                <a:gd name="connsiteY79" fmla="*/ 31118 h 3785924"/>
                <a:gd name="connsiteX80" fmla="*/ 243750 w 1876040"/>
                <a:gd name="connsiteY80" fmla="*/ 31118 h 3785924"/>
                <a:gd name="connsiteX81" fmla="*/ 30964 w 1876040"/>
                <a:gd name="connsiteY81" fmla="*/ 255272 h 3785924"/>
                <a:gd name="connsiteX82" fmla="*/ 30964 w 1876040"/>
                <a:gd name="connsiteY82" fmla="*/ 3530704 h 3785924"/>
                <a:gd name="connsiteX83" fmla="*/ 230172 w 1876040"/>
                <a:gd name="connsiteY83" fmla="*/ 3753726 h 3785924"/>
                <a:gd name="connsiteX84" fmla="*/ 225594 w 1876040"/>
                <a:gd name="connsiteY84" fmla="*/ 3753315 h 3785924"/>
                <a:gd name="connsiteX85" fmla="*/ 225594 w 1876040"/>
                <a:gd name="connsiteY85" fmla="*/ 3753315 h 3785924"/>
                <a:gd name="connsiteX86" fmla="*/ 213918 w 1876040"/>
                <a:gd name="connsiteY86" fmla="*/ 3751618 h 3785924"/>
                <a:gd name="connsiteX87" fmla="*/ 147516 w 1876040"/>
                <a:gd name="connsiteY87" fmla="*/ 3730324 h 3785924"/>
                <a:gd name="connsiteX88" fmla="*/ 143144 w 1876040"/>
                <a:gd name="connsiteY88" fmla="*/ 3728215 h 3785924"/>
                <a:gd name="connsiteX89" fmla="*/ 132188 w 1876040"/>
                <a:gd name="connsiteY89" fmla="*/ 3722248 h 3785924"/>
                <a:gd name="connsiteX90" fmla="*/ 127302 w 1876040"/>
                <a:gd name="connsiteY90" fmla="*/ 3719316 h 3785924"/>
                <a:gd name="connsiteX91" fmla="*/ 103796 w 1876040"/>
                <a:gd name="connsiteY91" fmla="*/ 3703166 h 3785924"/>
                <a:gd name="connsiteX92" fmla="*/ 99784 w 1876040"/>
                <a:gd name="connsiteY92" fmla="*/ 3700028 h 3785924"/>
                <a:gd name="connsiteX93" fmla="*/ 88160 w 1876040"/>
                <a:gd name="connsiteY93" fmla="*/ 3690050 h 3785924"/>
                <a:gd name="connsiteX94" fmla="*/ 84559 w 1876040"/>
                <a:gd name="connsiteY94" fmla="*/ 3686604 h 3785924"/>
                <a:gd name="connsiteX95" fmla="*/ 80393 w 1876040"/>
                <a:gd name="connsiteY95" fmla="*/ 3682592 h 3785924"/>
                <a:gd name="connsiteX96" fmla="*/ 76330 w 1876040"/>
                <a:gd name="connsiteY96" fmla="*/ 3678477 h 3785924"/>
                <a:gd name="connsiteX97" fmla="*/ 73758 w 1876040"/>
                <a:gd name="connsiteY97" fmla="*/ 3675700 h 3785924"/>
                <a:gd name="connsiteX98" fmla="*/ 70517 w 1876040"/>
                <a:gd name="connsiteY98" fmla="*/ 3672151 h 3785924"/>
                <a:gd name="connsiteX99" fmla="*/ 52772 w 1876040"/>
                <a:gd name="connsiteY99" fmla="*/ 3649828 h 3785924"/>
                <a:gd name="connsiteX100" fmla="*/ 49841 w 1876040"/>
                <a:gd name="connsiteY100" fmla="*/ 3645661 h 3785924"/>
                <a:gd name="connsiteX101" fmla="*/ 41405 w 1876040"/>
                <a:gd name="connsiteY101" fmla="*/ 3632288 h 3785924"/>
                <a:gd name="connsiteX102" fmla="*/ 38576 w 1876040"/>
                <a:gd name="connsiteY102" fmla="*/ 3627145 h 3785924"/>
                <a:gd name="connsiteX103" fmla="*/ 21191 w 1876040"/>
                <a:gd name="connsiteY103" fmla="*/ 3588466 h 3785924"/>
                <a:gd name="connsiteX104" fmla="*/ 19340 w 1876040"/>
                <a:gd name="connsiteY104" fmla="*/ 3582962 h 3785924"/>
                <a:gd name="connsiteX105" fmla="*/ 11984 w 1876040"/>
                <a:gd name="connsiteY105" fmla="*/ 3554570 h 3785924"/>
                <a:gd name="connsiteX106" fmla="*/ 10647 w 1876040"/>
                <a:gd name="connsiteY106" fmla="*/ 3549015 h 3785924"/>
                <a:gd name="connsiteX107" fmla="*/ 7098 w 1876040"/>
                <a:gd name="connsiteY107" fmla="*/ 3507044 h 3785924"/>
                <a:gd name="connsiteX108" fmla="*/ 7098 w 1876040"/>
                <a:gd name="connsiteY108" fmla="*/ 255272 h 3785924"/>
                <a:gd name="connsiteX109" fmla="*/ 7098 w 1876040"/>
                <a:gd name="connsiteY109" fmla="*/ 247968 h 3785924"/>
                <a:gd name="connsiteX110" fmla="*/ 7098 w 1876040"/>
                <a:gd name="connsiteY110" fmla="*/ 242516 h 3785924"/>
                <a:gd name="connsiteX111" fmla="*/ 7972 w 1876040"/>
                <a:gd name="connsiteY111" fmla="*/ 230635 h 3785924"/>
                <a:gd name="connsiteX112" fmla="*/ 8641 w 1876040"/>
                <a:gd name="connsiteY112" fmla="*/ 224617 h 3785924"/>
                <a:gd name="connsiteX113" fmla="*/ 9053 w 1876040"/>
                <a:gd name="connsiteY113" fmla="*/ 221376 h 3785924"/>
                <a:gd name="connsiteX114" fmla="*/ 9618 w 1876040"/>
                <a:gd name="connsiteY114" fmla="*/ 217467 h 3785924"/>
                <a:gd name="connsiteX115" fmla="*/ 10647 w 1876040"/>
                <a:gd name="connsiteY115" fmla="*/ 211398 h 3785924"/>
                <a:gd name="connsiteX116" fmla="*/ 12756 w 1876040"/>
                <a:gd name="connsiteY116" fmla="*/ 201111 h 3785924"/>
                <a:gd name="connsiteX117" fmla="*/ 13990 w 1876040"/>
                <a:gd name="connsiteY117" fmla="*/ 195967 h 3785924"/>
                <a:gd name="connsiteX118" fmla="*/ 18259 w 1876040"/>
                <a:gd name="connsiteY118" fmla="*/ 180537 h 3785924"/>
                <a:gd name="connsiteX119" fmla="*/ 19803 w 1876040"/>
                <a:gd name="connsiteY119" fmla="*/ 175805 h 3785924"/>
                <a:gd name="connsiteX120" fmla="*/ 21860 w 1876040"/>
                <a:gd name="connsiteY120" fmla="*/ 170044 h 3785924"/>
                <a:gd name="connsiteX121" fmla="*/ 23660 w 1876040"/>
                <a:gd name="connsiteY121" fmla="*/ 165261 h 3785924"/>
                <a:gd name="connsiteX122" fmla="*/ 25203 w 1876040"/>
                <a:gd name="connsiteY122" fmla="*/ 161403 h 3785924"/>
                <a:gd name="connsiteX123" fmla="*/ 27158 w 1876040"/>
                <a:gd name="connsiteY123" fmla="*/ 156774 h 3785924"/>
                <a:gd name="connsiteX124" fmla="*/ 28752 w 1876040"/>
                <a:gd name="connsiteY124" fmla="*/ 153276 h 3785924"/>
                <a:gd name="connsiteX125" fmla="*/ 31118 w 1876040"/>
                <a:gd name="connsiteY125" fmla="*/ 148133 h 3785924"/>
                <a:gd name="connsiteX126" fmla="*/ 35490 w 1876040"/>
                <a:gd name="connsiteY126" fmla="*/ 139389 h 3785924"/>
                <a:gd name="connsiteX127" fmla="*/ 37908 w 1876040"/>
                <a:gd name="connsiteY127" fmla="*/ 134965 h 3785924"/>
                <a:gd name="connsiteX128" fmla="*/ 40788 w 1876040"/>
                <a:gd name="connsiteY128" fmla="*/ 129822 h 3785924"/>
                <a:gd name="connsiteX129" fmla="*/ 64139 w 1876040"/>
                <a:gd name="connsiteY129" fmla="*/ 96646 h 3785924"/>
                <a:gd name="connsiteX130" fmla="*/ 67894 w 1876040"/>
                <a:gd name="connsiteY130" fmla="*/ 92223 h 3785924"/>
                <a:gd name="connsiteX131" fmla="*/ 72266 w 1876040"/>
                <a:gd name="connsiteY131" fmla="*/ 87337 h 3785924"/>
                <a:gd name="connsiteX132" fmla="*/ 79776 w 1876040"/>
                <a:gd name="connsiteY132" fmla="*/ 79570 h 3785924"/>
                <a:gd name="connsiteX133" fmla="*/ 88160 w 1876040"/>
                <a:gd name="connsiteY133" fmla="*/ 71546 h 3785924"/>
                <a:gd name="connsiteX134" fmla="*/ 96904 w 1876040"/>
                <a:gd name="connsiteY134" fmla="*/ 63985 h 3785924"/>
                <a:gd name="connsiteX135" fmla="*/ 101378 w 1876040"/>
                <a:gd name="connsiteY135" fmla="*/ 60333 h 3785924"/>
                <a:gd name="connsiteX136" fmla="*/ 110688 w 1876040"/>
                <a:gd name="connsiteY136" fmla="*/ 53390 h 3785924"/>
                <a:gd name="connsiteX137" fmla="*/ 120255 w 1876040"/>
                <a:gd name="connsiteY137" fmla="*/ 46857 h 3785924"/>
                <a:gd name="connsiteX138" fmla="*/ 130182 w 1876040"/>
                <a:gd name="connsiteY138" fmla="*/ 40788 h 3785924"/>
                <a:gd name="connsiteX139" fmla="*/ 135325 w 1876040"/>
                <a:gd name="connsiteY139" fmla="*/ 37908 h 3785924"/>
                <a:gd name="connsiteX140" fmla="*/ 140469 w 1876040"/>
                <a:gd name="connsiteY140" fmla="*/ 35130 h 3785924"/>
                <a:gd name="connsiteX141" fmla="*/ 145612 w 1876040"/>
                <a:gd name="connsiteY141" fmla="*/ 32507 h 3785924"/>
                <a:gd name="connsiteX142" fmla="*/ 150756 w 1876040"/>
                <a:gd name="connsiteY142" fmla="*/ 29935 h 3785924"/>
                <a:gd name="connsiteX143" fmla="*/ 161506 w 1876040"/>
                <a:gd name="connsiteY143" fmla="*/ 25306 h 3785924"/>
                <a:gd name="connsiteX144" fmla="*/ 166649 w 1876040"/>
                <a:gd name="connsiteY144" fmla="*/ 23197 h 3785924"/>
                <a:gd name="connsiteX145" fmla="*/ 167164 w 1876040"/>
                <a:gd name="connsiteY145" fmla="*/ 23197 h 3785924"/>
                <a:gd name="connsiteX146" fmla="*/ 172307 w 1876040"/>
                <a:gd name="connsiteY146" fmla="*/ 21294 h 3785924"/>
                <a:gd name="connsiteX147" fmla="*/ 177451 w 1876040"/>
                <a:gd name="connsiteY147" fmla="*/ 19494 h 3785924"/>
                <a:gd name="connsiteX148" fmla="*/ 183469 w 1876040"/>
                <a:gd name="connsiteY148" fmla="*/ 17642 h 3785924"/>
                <a:gd name="connsiteX149" fmla="*/ 189178 w 1876040"/>
                <a:gd name="connsiteY149" fmla="*/ 15996 h 3785924"/>
                <a:gd name="connsiteX150" fmla="*/ 194939 w 1876040"/>
                <a:gd name="connsiteY150" fmla="*/ 14505 h 3785924"/>
                <a:gd name="connsiteX151" fmla="*/ 200751 w 1876040"/>
                <a:gd name="connsiteY151" fmla="*/ 13116 h 3785924"/>
                <a:gd name="connsiteX152" fmla="*/ 212581 w 1876040"/>
                <a:gd name="connsiteY152" fmla="*/ 10801 h 3785924"/>
                <a:gd name="connsiteX153" fmla="*/ 218547 w 1876040"/>
                <a:gd name="connsiteY153" fmla="*/ 9876 h 3785924"/>
                <a:gd name="connsiteX154" fmla="*/ 231406 w 1876040"/>
                <a:gd name="connsiteY154" fmla="*/ 8332 h 3785924"/>
                <a:gd name="connsiteX155" fmla="*/ 241693 w 1876040"/>
                <a:gd name="connsiteY155" fmla="*/ 7561 h 3785924"/>
                <a:gd name="connsiteX156" fmla="*/ 248020 w 1876040"/>
                <a:gd name="connsiteY156" fmla="*/ 7561 h 3785924"/>
                <a:gd name="connsiteX157" fmla="*/ 254449 w 1876040"/>
                <a:gd name="connsiteY157" fmla="*/ 7561 h 3785924"/>
                <a:gd name="connsiteX158" fmla="*/ 1620820 w 1876040"/>
                <a:gd name="connsiteY158" fmla="*/ 7561 h 3785924"/>
                <a:gd name="connsiteX159" fmla="*/ 1627249 w 1876040"/>
                <a:gd name="connsiteY159" fmla="*/ 7561 h 3785924"/>
                <a:gd name="connsiteX160" fmla="*/ 1632393 w 1876040"/>
                <a:gd name="connsiteY160" fmla="*/ 7561 h 3785924"/>
                <a:gd name="connsiteX161" fmla="*/ 1644377 w 1876040"/>
                <a:gd name="connsiteY161" fmla="*/ 8435 h 3785924"/>
                <a:gd name="connsiteX162" fmla="*/ 1644377 w 1876040"/>
                <a:gd name="connsiteY162" fmla="*/ 8435 h 3785924"/>
                <a:gd name="connsiteX163" fmla="*/ 1650395 w 1876040"/>
                <a:gd name="connsiteY163" fmla="*/ 9104 h 3785924"/>
                <a:gd name="connsiteX164" fmla="*/ 1656413 w 1876040"/>
                <a:gd name="connsiteY164" fmla="*/ 9927 h 3785924"/>
                <a:gd name="connsiteX165" fmla="*/ 1662379 w 1876040"/>
                <a:gd name="connsiteY165" fmla="*/ 10853 h 3785924"/>
                <a:gd name="connsiteX166" fmla="*/ 1668243 w 1876040"/>
                <a:gd name="connsiteY166" fmla="*/ 11933 h 3785924"/>
                <a:gd name="connsiteX167" fmla="*/ 1668243 w 1876040"/>
                <a:gd name="connsiteY167" fmla="*/ 11933 h 3785924"/>
                <a:gd name="connsiteX168" fmla="*/ 1674055 w 1876040"/>
                <a:gd name="connsiteY168" fmla="*/ 13167 h 3785924"/>
                <a:gd name="connsiteX169" fmla="*/ 1679198 w 1876040"/>
                <a:gd name="connsiteY169" fmla="*/ 14350 h 3785924"/>
                <a:gd name="connsiteX170" fmla="*/ 1680330 w 1876040"/>
                <a:gd name="connsiteY170" fmla="*/ 14659 h 3785924"/>
                <a:gd name="connsiteX171" fmla="*/ 1685474 w 1876040"/>
                <a:gd name="connsiteY171" fmla="*/ 15945 h 3785924"/>
                <a:gd name="connsiteX172" fmla="*/ 1692366 w 1876040"/>
                <a:gd name="connsiteY172" fmla="*/ 17951 h 3785924"/>
                <a:gd name="connsiteX173" fmla="*/ 1697046 w 1876040"/>
                <a:gd name="connsiteY173" fmla="*/ 19442 h 3785924"/>
                <a:gd name="connsiteX174" fmla="*/ 1707333 w 1876040"/>
                <a:gd name="connsiteY174" fmla="*/ 23043 h 3785924"/>
                <a:gd name="connsiteX175" fmla="*/ 1714174 w 1876040"/>
                <a:gd name="connsiteY175" fmla="*/ 25666 h 3785924"/>
                <a:gd name="connsiteX176" fmla="*/ 1719318 w 1876040"/>
                <a:gd name="connsiteY176" fmla="*/ 27775 h 3785924"/>
                <a:gd name="connsiteX177" fmla="*/ 1724461 w 1876040"/>
                <a:gd name="connsiteY177" fmla="*/ 30192 h 3785924"/>
                <a:gd name="connsiteX178" fmla="*/ 1729605 w 1876040"/>
                <a:gd name="connsiteY178" fmla="*/ 32713 h 3785924"/>
                <a:gd name="connsiteX179" fmla="*/ 1765146 w 1876040"/>
                <a:gd name="connsiteY179" fmla="*/ 54058 h 3785924"/>
                <a:gd name="connsiteX180" fmla="*/ 1769210 w 1876040"/>
                <a:gd name="connsiteY180" fmla="*/ 57041 h 3785924"/>
                <a:gd name="connsiteX181" fmla="*/ 1783457 w 1876040"/>
                <a:gd name="connsiteY181" fmla="*/ 68614 h 3785924"/>
                <a:gd name="connsiteX182" fmla="*/ 1789475 w 1876040"/>
                <a:gd name="connsiteY182" fmla="*/ 74015 h 3785924"/>
                <a:gd name="connsiteX183" fmla="*/ 1812415 w 1876040"/>
                <a:gd name="connsiteY183" fmla="*/ 97727 h 3785924"/>
                <a:gd name="connsiteX184" fmla="*/ 1816067 w 1876040"/>
                <a:gd name="connsiteY184" fmla="*/ 102253 h 3785924"/>
                <a:gd name="connsiteX185" fmla="*/ 1823216 w 1876040"/>
                <a:gd name="connsiteY185" fmla="*/ 111820 h 3785924"/>
                <a:gd name="connsiteX186" fmla="*/ 1826663 w 1876040"/>
                <a:gd name="connsiteY186" fmla="*/ 116706 h 3785924"/>
                <a:gd name="connsiteX187" fmla="*/ 1832217 w 1876040"/>
                <a:gd name="connsiteY187" fmla="*/ 125296 h 3785924"/>
                <a:gd name="connsiteX188" fmla="*/ 1834892 w 1876040"/>
                <a:gd name="connsiteY188" fmla="*/ 129719 h 3785924"/>
                <a:gd name="connsiteX189" fmla="*/ 1839624 w 1876040"/>
                <a:gd name="connsiteY189" fmla="*/ 138206 h 3785924"/>
                <a:gd name="connsiteX190" fmla="*/ 1841785 w 1876040"/>
                <a:gd name="connsiteY190" fmla="*/ 142372 h 3785924"/>
                <a:gd name="connsiteX191" fmla="*/ 1848780 w 1876040"/>
                <a:gd name="connsiteY191" fmla="*/ 156928 h 3785924"/>
                <a:gd name="connsiteX192" fmla="*/ 1850374 w 1876040"/>
                <a:gd name="connsiteY192" fmla="*/ 160837 h 3785924"/>
                <a:gd name="connsiteX193" fmla="*/ 1856032 w 1876040"/>
                <a:gd name="connsiteY193" fmla="*/ 175856 h 3785924"/>
                <a:gd name="connsiteX194" fmla="*/ 1857884 w 1876040"/>
                <a:gd name="connsiteY194" fmla="*/ 181514 h 3785924"/>
                <a:gd name="connsiteX195" fmla="*/ 1865805 w 1876040"/>
                <a:gd name="connsiteY195" fmla="*/ 214998 h 3785924"/>
                <a:gd name="connsiteX196" fmla="*/ 1866370 w 1876040"/>
                <a:gd name="connsiteY196" fmla="*/ 218702 h 3785924"/>
                <a:gd name="connsiteX197" fmla="*/ 1867194 w 1876040"/>
                <a:gd name="connsiteY197" fmla="*/ 224668 h 3785924"/>
                <a:gd name="connsiteX198" fmla="*/ 1867862 w 1876040"/>
                <a:gd name="connsiteY198" fmla="*/ 230737 h 3785924"/>
                <a:gd name="connsiteX199" fmla="*/ 1868428 w 1876040"/>
                <a:gd name="connsiteY199" fmla="*/ 236807 h 3785924"/>
                <a:gd name="connsiteX200" fmla="*/ 1868942 w 1876040"/>
                <a:gd name="connsiteY200" fmla="*/ 248122 h 3785924"/>
                <a:gd name="connsiteX201" fmla="*/ 1868942 w 1876040"/>
                <a:gd name="connsiteY201" fmla="*/ 255375 h 378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876040" h="3785924">
                  <a:moveTo>
                    <a:pt x="1620820" y="0"/>
                  </a:moveTo>
                  <a:lnTo>
                    <a:pt x="255220" y="0"/>
                  </a:lnTo>
                  <a:cubicBezTo>
                    <a:pt x="114266" y="0"/>
                    <a:pt x="0" y="114266"/>
                    <a:pt x="0" y="255220"/>
                  </a:cubicBezTo>
                  <a:lnTo>
                    <a:pt x="0" y="3530704"/>
                  </a:lnTo>
                  <a:cubicBezTo>
                    <a:pt x="28" y="3671647"/>
                    <a:pt x="114278" y="3785896"/>
                    <a:pt x="255220" y="3785925"/>
                  </a:cubicBezTo>
                  <a:lnTo>
                    <a:pt x="1620820" y="3785925"/>
                  </a:lnTo>
                  <a:cubicBezTo>
                    <a:pt x="1761762" y="3785896"/>
                    <a:pt x="1876012" y="3671647"/>
                    <a:pt x="1876040" y="3530704"/>
                  </a:cubicBezTo>
                  <a:lnTo>
                    <a:pt x="1876040" y="255272"/>
                  </a:lnTo>
                  <a:cubicBezTo>
                    <a:pt x="1876068" y="114318"/>
                    <a:pt x="1761826" y="28"/>
                    <a:pt x="1620871" y="0"/>
                  </a:cubicBezTo>
                  <a:cubicBezTo>
                    <a:pt x="1620854" y="0"/>
                    <a:pt x="1620837" y="0"/>
                    <a:pt x="1620820" y="0"/>
                  </a:cubicBezTo>
                  <a:close/>
                  <a:moveTo>
                    <a:pt x="1868994" y="3506993"/>
                  </a:moveTo>
                  <a:cubicBezTo>
                    <a:pt x="1869011" y="3532872"/>
                    <a:pt x="1864967" y="3558594"/>
                    <a:pt x="1857009" y="3583220"/>
                  </a:cubicBezTo>
                  <a:cubicBezTo>
                    <a:pt x="1856443" y="3585071"/>
                    <a:pt x="1855826" y="3586923"/>
                    <a:pt x="1855158" y="3588723"/>
                  </a:cubicBezTo>
                  <a:cubicBezTo>
                    <a:pt x="1854489" y="3590523"/>
                    <a:pt x="1853872" y="3592375"/>
                    <a:pt x="1853152" y="3594175"/>
                  </a:cubicBezTo>
                  <a:cubicBezTo>
                    <a:pt x="1852432" y="3595975"/>
                    <a:pt x="1852174" y="3596901"/>
                    <a:pt x="1851609" y="3598238"/>
                  </a:cubicBezTo>
                  <a:cubicBezTo>
                    <a:pt x="1850014" y="3602250"/>
                    <a:pt x="1848265" y="3606262"/>
                    <a:pt x="1846465" y="3610171"/>
                  </a:cubicBezTo>
                  <a:cubicBezTo>
                    <a:pt x="1845676" y="3611920"/>
                    <a:pt x="1844853" y="3613635"/>
                    <a:pt x="1843996" y="3615315"/>
                  </a:cubicBezTo>
                  <a:cubicBezTo>
                    <a:pt x="1842813" y="3617732"/>
                    <a:pt x="1841630" y="3620098"/>
                    <a:pt x="1840396" y="3622464"/>
                  </a:cubicBezTo>
                  <a:cubicBezTo>
                    <a:pt x="1839161" y="3624830"/>
                    <a:pt x="1838698" y="3625602"/>
                    <a:pt x="1837824" y="3627196"/>
                  </a:cubicBezTo>
                  <a:cubicBezTo>
                    <a:pt x="1836950" y="3628791"/>
                    <a:pt x="1835972" y="3630488"/>
                    <a:pt x="1834995" y="3632340"/>
                  </a:cubicBezTo>
                  <a:cubicBezTo>
                    <a:pt x="1832320" y="3636918"/>
                    <a:pt x="1829492" y="3641392"/>
                    <a:pt x="1826508" y="3645816"/>
                  </a:cubicBezTo>
                  <a:cubicBezTo>
                    <a:pt x="1825531" y="3647205"/>
                    <a:pt x="1824605" y="3648593"/>
                    <a:pt x="1823576" y="3649982"/>
                  </a:cubicBezTo>
                  <a:cubicBezTo>
                    <a:pt x="1822548" y="3651371"/>
                    <a:pt x="1821416" y="3653068"/>
                    <a:pt x="1820233" y="3654560"/>
                  </a:cubicBezTo>
                  <a:cubicBezTo>
                    <a:pt x="1819050" y="3656051"/>
                    <a:pt x="1818022" y="3657594"/>
                    <a:pt x="1816838" y="3659137"/>
                  </a:cubicBezTo>
                  <a:cubicBezTo>
                    <a:pt x="1815656" y="3660681"/>
                    <a:pt x="1814524" y="3662121"/>
                    <a:pt x="1813289" y="3663561"/>
                  </a:cubicBezTo>
                  <a:cubicBezTo>
                    <a:pt x="1812055" y="3665001"/>
                    <a:pt x="1810872" y="3666544"/>
                    <a:pt x="1809586" y="3667984"/>
                  </a:cubicBezTo>
                  <a:cubicBezTo>
                    <a:pt x="1807169" y="3670865"/>
                    <a:pt x="1804443" y="3673745"/>
                    <a:pt x="1801974" y="3676471"/>
                  </a:cubicBezTo>
                  <a:cubicBezTo>
                    <a:pt x="1798013" y="3680740"/>
                    <a:pt x="1793899" y="3684855"/>
                    <a:pt x="1789578" y="3688867"/>
                  </a:cubicBezTo>
                  <a:lnTo>
                    <a:pt x="1785720" y="3692364"/>
                  </a:lnTo>
                  <a:cubicBezTo>
                    <a:pt x="1782737" y="3695039"/>
                    <a:pt x="1779703" y="3697508"/>
                    <a:pt x="1776616" y="3700183"/>
                  </a:cubicBezTo>
                  <a:lnTo>
                    <a:pt x="1772553" y="3703320"/>
                  </a:lnTo>
                  <a:cubicBezTo>
                    <a:pt x="1768027" y="3706749"/>
                    <a:pt x="1763397" y="3710092"/>
                    <a:pt x="1758665" y="3713350"/>
                  </a:cubicBezTo>
                  <a:cubicBezTo>
                    <a:pt x="1757088" y="3714447"/>
                    <a:pt x="1755494" y="3715476"/>
                    <a:pt x="1753882" y="3716436"/>
                  </a:cubicBezTo>
                  <a:cubicBezTo>
                    <a:pt x="1750642" y="3718545"/>
                    <a:pt x="1747350" y="3720500"/>
                    <a:pt x="1744058" y="3722403"/>
                  </a:cubicBezTo>
                  <a:cubicBezTo>
                    <a:pt x="1742412" y="3723380"/>
                    <a:pt x="1740766" y="3724254"/>
                    <a:pt x="1738915" y="3725129"/>
                  </a:cubicBezTo>
                  <a:cubicBezTo>
                    <a:pt x="1733771" y="3728060"/>
                    <a:pt x="1728113" y="3730787"/>
                    <a:pt x="1722558" y="3733255"/>
                  </a:cubicBezTo>
                  <a:cubicBezTo>
                    <a:pt x="1721067" y="3733975"/>
                    <a:pt x="1719575" y="3734593"/>
                    <a:pt x="1718135" y="3735210"/>
                  </a:cubicBezTo>
                  <a:cubicBezTo>
                    <a:pt x="1716695" y="3735827"/>
                    <a:pt x="1714637" y="3736753"/>
                    <a:pt x="1712991" y="3737422"/>
                  </a:cubicBezTo>
                  <a:lnTo>
                    <a:pt x="1707848" y="3739530"/>
                  </a:lnTo>
                  <a:cubicBezTo>
                    <a:pt x="1703784" y="3741022"/>
                    <a:pt x="1699721" y="3742462"/>
                    <a:pt x="1695606" y="3743748"/>
                  </a:cubicBezTo>
                  <a:lnTo>
                    <a:pt x="1691234" y="3745085"/>
                  </a:lnTo>
                  <a:cubicBezTo>
                    <a:pt x="1686091" y="3746680"/>
                    <a:pt x="1680330" y="3748120"/>
                    <a:pt x="1674724" y="3749355"/>
                  </a:cubicBezTo>
                  <a:lnTo>
                    <a:pt x="1668860" y="3750589"/>
                  </a:lnTo>
                  <a:lnTo>
                    <a:pt x="1662585" y="3751720"/>
                  </a:lnTo>
                  <a:cubicBezTo>
                    <a:pt x="1658779" y="3752389"/>
                    <a:pt x="1654870" y="3752955"/>
                    <a:pt x="1650961" y="3753418"/>
                  </a:cubicBezTo>
                  <a:lnTo>
                    <a:pt x="1650961" y="3753418"/>
                  </a:lnTo>
                  <a:lnTo>
                    <a:pt x="1648697" y="3753418"/>
                  </a:lnTo>
                  <a:lnTo>
                    <a:pt x="1647051" y="3753418"/>
                  </a:lnTo>
                  <a:lnTo>
                    <a:pt x="1646383" y="3753418"/>
                  </a:lnTo>
                  <a:cubicBezTo>
                    <a:pt x="1649881" y="3753058"/>
                    <a:pt x="1653378" y="3752595"/>
                    <a:pt x="1656670" y="3751978"/>
                  </a:cubicBezTo>
                  <a:lnTo>
                    <a:pt x="1661813" y="3751103"/>
                  </a:lnTo>
                  <a:lnTo>
                    <a:pt x="1666957" y="3750126"/>
                  </a:lnTo>
                  <a:cubicBezTo>
                    <a:pt x="1672100" y="3749046"/>
                    <a:pt x="1677244" y="3747760"/>
                    <a:pt x="1682079" y="3746423"/>
                  </a:cubicBezTo>
                  <a:lnTo>
                    <a:pt x="1687222" y="3744931"/>
                  </a:lnTo>
                  <a:cubicBezTo>
                    <a:pt x="1690463" y="3743954"/>
                    <a:pt x="1693703" y="3742874"/>
                    <a:pt x="1696892" y="3741742"/>
                  </a:cubicBezTo>
                  <a:cubicBezTo>
                    <a:pt x="1701727" y="3739993"/>
                    <a:pt x="1706459" y="3738090"/>
                    <a:pt x="1711140" y="3736033"/>
                  </a:cubicBezTo>
                  <a:cubicBezTo>
                    <a:pt x="1712683" y="3735416"/>
                    <a:pt x="1714226" y="3734695"/>
                    <a:pt x="1715769" y="3733975"/>
                  </a:cubicBezTo>
                  <a:lnTo>
                    <a:pt x="1720295" y="3731764"/>
                  </a:lnTo>
                  <a:cubicBezTo>
                    <a:pt x="1723330" y="3730272"/>
                    <a:pt x="1726313" y="3728678"/>
                    <a:pt x="1729296" y="3727083"/>
                  </a:cubicBezTo>
                  <a:cubicBezTo>
                    <a:pt x="1732279" y="3725489"/>
                    <a:pt x="1735160" y="3723791"/>
                    <a:pt x="1738040" y="3721940"/>
                  </a:cubicBezTo>
                  <a:lnTo>
                    <a:pt x="1745755" y="3716796"/>
                  </a:lnTo>
                  <a:lnTo>
                    <a:pt x="1746527" y="3716282"/>
                  </a:lnTo>
                  <a:cubicBezTo>
                    <a:pt x="1750693" y="3713401"/>
                    <a:pt x="1754756" y="3710470"/>
                    <a:pt x="1758717" y="3707383"/>
                  </a:cubicBezTo>
                  <a:cubicBezTo>
                    <a:pt x="1760054" y="3706406"/>
                    <a:pt x="1761392" y="3705378"/>
                    <a:pt x="1762678" y="3704246"/>
                  </a:cubicBezTo>
                  <a:cubicBezTo>
                    <a:pt x="1766381" y="3701263"/>
                    <a:pt x="1769981" y="3698177"/>
                    <a:pt x="1773479" y="3694936"/>
                  </a:cubicBezTo>
                  <a:cubicBezTo>
                    <a:pt x="1782101" y="3686992"/>
                    <a:pt x="1790098" y="3678394"/>
                    <a:pt x="1797396" y="3669219"/>
                  </a:cubicBezTo>
                  <a:lnTo>
                    <a:pt x="1800482" y="3665258"/>
                  </a:lnTo>
                  <a:cubicBezTo>
                    <a:pt x="1811034" y="3651255"/>
                    <a:pt x="1819939" y="3636085"/>
                    <a:pt x="1827022" y="3620047"/>
                  </a:cubicBezTo>
                  <a:cubicBezTo>
                    <a:pt x="1828154" y="3617475"/>
                    <a:pt x="1829234" y="3614903"/>
                    <a:pt x="1830212" y="3612229"/>
                  </a:cubicBezTo>
                  <a:cubicBezTo>
                    <a:pt x="1835320" y="3599337"/>
                    <a:pt x="1839195" y="3585990"/>
                    <a:pt x="1841785" y="3572367"/>
                  </a:cubicBezTo>
                  <a:cubicBezTo>
                    <a:pt x="1842299" y="3569692"/>
                    <a:pt x="1842762" y="3567223"/>
                    <a:pt x="1843225" y="3564189"/>
                  </a:cubicBezTo>
                  <a:cubicBezTo>
                    <a:pt x="1844899" y="3552950"/>
                    <a:pt x="1845742" y="3541604"/>
                    <a:pt x="1845745" y="3530242"/>
                  </a:cubicBezTo>
                  <a:lnTo>
                    <a:pt x="1845745" y="255272"/>
                  </a:lnTo>
                  <a:cubicBezTo>
                    <a:pt x="1845602" y="140581"/>
                    <a:pt x="1759169" y="44375"/>
                    <a:pt x="1645148" y="31993"/>
                  </a:cubicBezTo>
                  <a:lnTo>
                    <a:pt x="1639131" y="31478"/>
                  </a:lnTo>
                  <a:lnTo>
                    <a:pt x="1632958" y="31118"/>
                  </a:lnTo>
                  <a:lnTo>
                    <a:pt x="1632958" y="31118"/>
                  </a:lnTo>
                  <a:cubicBezTo>
                    <a:pt x="1629101" y="31118"/>
                    <a:pt x="1625346" y="30810"/>
                    <a:pt x="1621437" y="30810"/>
                  </a:cubicBezTo>
                  <a:lnTo>
                    <a:pt x="255272" y="30810"/>
                  </a:lnTo>
                  <a:cubicBezTo>
                    <a:pt x="251363" y="30810"/>
                    <a:pt x="247557" y="30810"/>
                    <a:pt x="243750" y="31118"/>
                  </a:cubicBezTo>
                  <a:lnTo>
                    <a:pt x="243750" y="31118"/>
                  </a:lnTo>
                  <a:cubicBezTo>
                    <a:pt x="124543" y="37457"/>
                    <a:pt x="31096" y="135896"/>
                    <a:pt x="30964" y="255272"/>
                  </a:cubicBezTo>
                  <a:lnTo>
                    <a:pt x="30964" y="3530704"/>
                  </a:lnTo>
                  <a:cubicBezTo>
                    <a:pt x="31111" y="3644840"/>
                    <a:pt x="116776" y="3740746"/>
                    <a:pt x="230172" y="3753726"/>
                  </a:cubicBezTo>
                  <a:lnTo>
                    <a:pt x="225594" y="3753315"/>
                  </a:lnTo>
                  <a:lnTo>
                    <a:pt x="225594" y="3753315"/>
                  </a:lnTo>
                  <a:cubicBezTo>
                    <a:pt x="221633" y="3752852"/>
                    <a:pt x="217776" y="3752286"/>
                    <a:pt x="213918" y="3751618"/>
                  </a:cubicBezTo>
                  <a:cubicBezTo>
                    <a:pt x="190892" y="3747680"/>
                    <a:pt x="168537" y="3740511"/>
                    <a:pt x="147516" y="3730324"/>
                  </a:cubicBezTo>
                  <a:lnTo>
                    <a:pt x="143144" y="3728215"/>
                  </a:lnTo>
                  <a:cubicBezTo>
                    <a:pt x="139440" y="3726260"/>
                    <a:pt x="135788" y="3724306"/>
                    <a:pt x="132188" y="3722248"/>
                  </a:cubicBezTo>
                  <a:lnTo>
                    <a:pt x="127302" y="3719316"/>
                  </a:lnTo>
                  <a:cubicBezTo>
                    <a:pt x="119147" y="3714414"/>
                    <a:pt x="111297" y="3709020"/>
                    <a:pt x="103796" y="3703166"/>
                  </a:cubicBezTo>
                  <a:lnTo>
                    <a:pt x="99784" y="3700028"/>
                  </a:lnTo>
                  <a:cubicBezTo>
                    <a:pt x="95823" y="3696788"/>
                    <a:pt x="91914" y="3693496"/>
                    <a:pt x="88160" y="3690050"/>
                  </a:cubicBezTo>
                  <a:lnTo>
                    <a:pt x="84559" y="3686604"/>
                  </a:lnTo>
                  <a:lnTo>
                    <a:pt x="80393" y="3682592"/>
                  </a:lnTo>
                  <a:lnTo>
                    <a:pt x="76330" y="3678477"/>
                  </a:lnTo>
                  <a:cubicBezTo>
                    <a:pt x="75455" y="3677551"/>
                    <a:pt x="74581" y="3676677"/>
                    <a:pt x="73758" y="3675700"/>
                  </a:cubicBezTo>
                  <a:cubicBezTo>
                    <a:pt x="72935" y="3674722"/>
                    <a:pt x="71546" y="3673333"/>
                    <a:pt x="70517" y="3672151"/>
                  </a:cubicBezTo>
                  <a:cubicBezTo>
                    <a:pt x="64176" y="3665058"/>
                    <a:pt x="58252" y="3657605"/>
                    <a:pt x="52772" y="3649828"/>
                  </a:cubicBezTo>
                  <a:cubicBezTo>
                    <a:pt x="51744" y="3648439"/>
                    <a:pt x="50818" y="3647050"/>
                    <a:pt x="49841" y="3645661"/>
                  </a:cubicBezTo>
                  <a:cubicBezTo>
                    <a:pt x="46857" y="3641290"/>
                    <a:pt x="44080" y="3636866"/>
                    <a:pt x="41405" y="3632288"/>
                  </a:cubicBezTo>
                  <a:cubicBezTo>
                    <a:pt x="40428" y="3630694"/>
                    <a:pt x="39502" y="3629048"/>
                    <a:pt x="38576" y="3627145"/>
                  </a:cubicBezTo>
                  <a:cubicBezTo>
                    <a:pt x="31691" y="3614770"/>
                    <a:pt x="25875" y="3601830"/>
                    <a:pt x="21191" y="3588466"/>
                  </a:cubicBezTo>
                  <a:cubicBezTo>
                    <a:pt x="20523" y="3586614"/>
                    <a:pt x="19905" y="3584814"/>
                    <a:pt x="19340" y="3582962"/>
                  </a:cubicBezTo>
                  <a:cubicBezTo>
                    <a:pt x="16340" y="3573649"/>
                    <a:pt x="13884" y="3564168"/>
                    <a:pt x="11984" y="3554570"/>
                  </a:cubicBezTo>
                  <a:lnTo>
                    <a:pt x="10647" y="3549015"/>
                  </a:lnTo>
                  <a:cubicBezTo>
                    <a:pt x="8289" y="3535149"/>
                    <a:pt x="7102" y="3521109"/>
                    <a:pt x="7098" y="3507044"/>
                  </a:cubicBezTo>
                  <a:lnTo>
                    <a:pt x="7098" y="255272"/>
                  </a:lnTo>
                  <a:cubicBezTo>
                    <a:pt x="7098" y="252803"/>
                    <a:pt x="7098" y="250386"/>
                    <a:pt x="7098" y="247968"/>
                  </a:cubicBezTo>
                  <a:cubicBezTo>
                    <a:pt x="7098" y="245551"/>
                    <a:pt x="7098" y="244316"/>
                    <a:pt x="7098" y="242516"/>
                  </a:cubicBezTo>
                  <a:cubicBezTo>
                    <a:pt x="7098" y="238504"/>
                    <a:pt x="7561" y="234595"/>
                    <a:pt x="7972" y="230635"/>
                  </a:cubicBezTo>
                  <a:cubicBezTo>
                    <a:pt x="7972" y="228629"/>
                    <a:pt x="8384" y="226571"/>
                    <a:pt x="8641" y="224617"/>
                  </a:cubicBezTo>
                  <a:cubicBezTo>
                    <a:pt x="8641" y="223485"/>
                    <a:pt x="8950" y="222456"/>
                    <a:pt x="9053" y="221376"/>
                  </a:cubicBezTo>
                  <a:cubicBezTo>
                    <a:pt x="9155" y="220296"/>
                    <a:pt x="9413" y="218804"/>
                    <a:pt x="9618" y="217467"/>
                  </a:cubicBezTo>
                  <a:cubicBezTo>
                    <a:pt x="9824" y="216130"/>
                    <a:pt x="10236" y="213404"/>
                    <a:pt x="10647" y="211398"/>
                  </a:cubicBezTo>
                  <a:cubicBezTo>
                    <a:pt x="11264" y="207849"/>
                    <a:pt x="11933" y="204300"/>
                    <a:pt x="12756" y="201111"/>
                  </a:cubicBezTo>
                  <a:cubicBezTo>
                    <a:pt x="13116" y="199362"/>
                    <a:pt x="13579" y="197665"/>
                    <a:pt x="13990" y="195967"/>
                  </a:cubicBezTo>
                  <a:cubicBezTo>
                    <a:pt x="15225" y="190824"/>
                    <a:pt x="16665" y="185680"/>
                    <a:pt x="18259" y="180537"/>
                  </a:cubicBezTo>
                  <a:lnTo>
                    <a:pt x="19803" y="175805"/>
                  </a:lnTo>
                  <a:cubicBezTo>
                    <a:pt x="20471" y="173850"/>
                    <a:pt x="21140" y="171896"/>
                    <a:pt x="21860" y="170044"/>
                  </a:cubicBezTo>
                  <a:cubicBezTo>
                    <a:pt x="22580" y="168192"/>
                    <a:pt x="23043" y="166855"/>
                    <a:pt x="23660" y="165261"/>
                  </a:cubicBezTo>
                  <a:cubicBezTo>
                    <a:pt x="24277" y="163666"/>
                    <a:pt x="24637" y="162689"/>
                    <a:pt x="25203" y="161403"/>
                  </a:cubicBezTo>
                  <a:cubicBezTo>
                    <a:pt x="25769" y="160117"/>
                    <a:pt x="26489" y="158266"/>
                    <a:pt x="27158" y="156774"/>
                  </a:cubicBezTo>
                  <a:cubicBezTo>
                    <a:pt x="27826" y="155282"/>
                    <a:pt x="28135" y="154459"/>
                    <a:pt x="28752" y="153276"/>
                  </a:cubicBezTo>
                  <a:cubicBezTo>
                    <a:pt x="29369" y="152093"/>
                    <a:pt x="30244" y="149933"/>
                    <a:pt x="31118" y="148133"/>
                  </a:cubicBezTo>
                  <a:cubicBezTo>
                    <a:pt x="32455" y="145201"/>
                    <a:pt x="33947" y="142269"/>
                    <a:pt x="35490" y="139389"/>
                  </a:cubicBezTo>
                  <a:cubicBezTo>
                    <a:pt x="36262" y="137897"/>
                    <a:pt x="37085" y="136406"/>
                    <a:pt x="37908" y="134965"/>
                  </a:cubicBezTo>
                  <a:cubicBezTo>
                    <a:pt x="38731" y="133525"/>
                    <a:pt x="39811" y="131571"/>
                    <a:pt x="40788" y="129822"/>
                  </a:cubicBezTo>
                  <a:cubicBezTo>
                    <a:pt x="47672" y="118157"/>
                    <a:pt x="55481" y="107063"/>
                    <a:pt x="64139" y="96646"/>
                  </a:cubicBezTo>
                  <a:lnTo>
                    <a:pt x="67894" y="92223"/>
                  </a:lnTo>
                  <a:cubicBezTo>
                    <a:pt x="69334" y="90628"/>
                    <a:pt x="70775" y="88931"/>
                    <a:pt x="72266" y="87337"/>
                  </a:cubicBezTo>
                  <a:cubicBezTo>
                    <a:pt x="74735" y="84713"/>
                    <a:pt x="77410" y="82193"/>
                    <a:pt x="79776" y="79570"/>
                  </a:cubicBezTo>
                  <a:cubicBezTo>
                    <a:pt x="82142" y="76947"/>
                    <a:pt x="85279" y="74169"/>
                    <a:pt x="88160" y="71546"/>
                  </a:cubicBezTo>
                  <a:cubicBezTo>
                    <a:pt x="91040" y="68923"/>
                    <a:pt x="93920" y="66403"/>
                    <a:pt x="96904" y="63985"/>
                  </a:cubicBezTo>
                  <a:cubicBezTo>
                    <a:pt x="98344" y="62751"/>
                    <a:pt x="99887" y="61568"/>
                    <a:pt x="101378" y="60333"/>
                  </a:cubicBezTo>
                  <a:cubicBezTo>
                    <a:pt x="104413" y="57967"/>
                    <a:pt x="107499" y="55653"/>
                    <a:pt x="110688" y="53390"/>
                  </a:cubicBezTo>
                  <a:cubicBezTo>
                    <a:pt x="113877" y="51126"/>
                    <a:pt x="116963" y="48966"/>
                    <a:pt x="120255" y="46857"/>
                  </a:cubicBezTo>
                  <a:cubicBezTo>
                    <a:pt x="123547" y="44748"/>
                    <a:pt x="126787" y="42691"/>
                    <a:pt x="130182" y="40788"/>
                  </a:cubicBezTo>
                  <a:cubicBezTo>
                    <a:pt x="131828" y="39759"/>
                    <a:pt x="133525" y="38833"/>
                    <a:pt x="135325" y="37908"/>
                  </a:cubicBezTo>
                  <a:cubicBezTo>
                    <a:pt x="137126" y="36982"/>
                    <a:pt x="138720" y="36056"/>
                    <a:pt x="140469" y="35130"/>
                  </a:cubicBezTo>
                  <a:cubicBezTo>
                    <a:pt x="142218" y="34204"/>
                    <a:pt x="143915" y="33330"/>
                    <a:pt x="145612" y="32507"/>
                  </a:cubicBezTo>
                  <a:lnTo>
                    <a:pt x="150756" y="29935"/>
                  </a:lnTo>
                  <a:cubicBezTo>
                    <a:pt x="154254" y="28289"/>
                    <a:pt x="157854" y="26746"/>
                    <a:pt x="161506" y="25306"/>
                  </a:cubicBezTo>
                  <a:lnTo>
                    <a:pt x="166649" y="23197"/>
                  </a:lnTo>
                  <a:lnTo>
                    <a:pt x="167164" y="23197"/>
                  </a:lnTo>
                  <a:lnTo>
                    <a:pt x="172307" y="21294"/>
                  </a:lnTo>
                  <a:lnTo>
                    <a:pt x="177451" y="19494"/>
                  </a:lnTo>
                  <a:cubicBezTo>
                    <a:pt x="179457" y="18877"/>
                    <a:pt x="181411" y="18208"/>
                    <a:pt x="183469" y="17642"/>
                  </a:cubicBezTo>
                  <a:lnTo>
                    <a:pt x="189178" y="15996"/>
                  </a:lnTo>
                  <a:lnTo>
                    <a:pt x="194939" y="14505"/>
                  </a:lnTo>
                  <a:cubicBezTo>
                    <a:pt x="196893" y="14042"/>
                    <a:pt x="198796" y="13527"/>
                    <a:pt x="200751" y="13116"/>
                  </a:cubicBezTo>
                  <a:cubicBezTo>
                    <a:pt x="204711" y="12242"/>
                    <a:pt x="208620" y="11470"/>
                    <a:pt x="212581" y="10801"/>
                  </a:cubicBezTo>
                  <a:cubicBezTo>
                    <a:pt x="214535" y="10493"/>
                    <a:pt x="216541" y="10133"/>
                    <a:pt x="218547" y="9876"/>
                  </a:cubicBezTo>
                  <a:cubicBezTo>
                    <a:pt x="222765" y="9258"/>
                    <a:pt x="227086" y="8693"/>
                    <a:pt x="231406" y="8332"/>
                  </a:cubicBezTo>
                  <a:cubicBezTo>
                    <a:pt x="234801" y="8024"/>
                    <a:pt x="238298" y="7767"/>
                    <a:pt x="241693" y="7561"/>
                  </a:cubicBezTo>
                  <a:lnTo>
                    <a:pt x="248020" y="7561"/>
                  </a:lnTo>
                  <a:lnTo>
                    <a:pt x="254449" y="7561"/>
                  </a:lnTo>
                  <a:lnTo>
                    <a:pt x="1620820" y="7561"/>
                  </a:lnTo>
                  <a:lnTo>
                    <a:pt x="1627249" y="7561"/>
                  </a:lnTo>
                  <a:lnTo>
                    <a:pt x="1632393" y="7561"/>
                  </a:lnTo>
                  <a:cubicBezTo>
                    <a:pt x="1636405" y="7561"/>
                    <a:pt x="1640365" y="8075"/>
                    <a:pt x="1644377" y="8435"/>
                  </a:cubicBezTo>
                  <a:lnTo>
                    <a:pt x="1644377" y="8435"/>
                  </a:lnTo>
                  <a:lnTo>
                    <a:pt x="1650395" y="9104"/>
                  </a:lnTo>
                  <a:lnTo>
                    <a:pt x="1656413" y="9927"/>
                  </a:lnTo>
                  <a:lnTo>
                    <a:pt x="1662379" y="10853"/>
                  </a:lnTo>
                  <a:cubicBezTo>
                    <a:pt x="1664334" y="11161"/>
                    <a:pt x="1666288" y="11573"/>
                    <a:pt x="1668243" y="11933"/>
                  </a:cubicBezTo>
                  <a:lnTo>
                    <a:pt x="1668243" y="11933"/>
                  </a:lnTo>
                  <a:lnTo>
                    <a:pt x="1674055" y="13167"/>
                  </a:lnTo>
                  <a:lnTo>
                    <a:pt x="1679198" y="14350"/>
                  </a:lnTo>
                  <a:lnTo>
                    <a:pt x="1680330" y="14659"/>
                  </a:lnTo>
                  <a:lnTo>
                    <a:pt x="1685474" y="15945"/>
                  </a:lnTo>
                  <a:cubicBezTo>
                    <a:pt x="1687788" y="16562"/>
                    <a:pt x="1690103" y="17231"/>
                    <a:pt x="1692366" y="17951"/>
                  </a:cubicBezTo>
                  <a:lnTo>
                    <a:pt x="1697046" y="19442"/>
                  </a:lnTo>
                  <a:cubicBezTo>
                    <a:pt x="1700493" y="20574"/>
                    <a:pt x="1703887" y="21757"/>
                    <a:pt x="1707333" y="23043"/>
                  </a:cubicBezTo>
                  <a:cubicBezTo>
                    <a:pt x="1709700" y="23814"/>
                    <a:pt x="1711962" y="24740"/>
                    <a:pt x="1714174" y="25666"/>
                  </a:cubicBezTo>
                  <a:lnTo>
                    <a:pt x="1719318" y="27775"/>
                  </a:lnTo>
                  <a:cubicBezTo>
                    <a:pt x="1721118" y="28546"/>
                    <a:pt x="1722867" y="29318"/>
                    <a:pt x="1724461" y="30192"/>
                  </a:cubicBezTo>
                  <a:cubicBezTo>
                    <a:pt x="1726056" y="31067"/>
                    <a:pt x="1727959" y="31838"/>
                    <a:pt x="1729605" y="32713"/>
                  </a:cubicBezTo>
                  <a:cubicBezTo>
                    <a:pt x="1742060" y="38763"/>
                    <a:pt x="1753954" y="45906"/>
                    <a:pt x="1765146" y="54058"/>
                  </a:cubicBezTo>
                  <a:cubicBezTo>
                    <a:pt x="1766535" y="54984"/>
                    <a:pt x="1767873" y="56013"/>
                    <a:pt x="1769210" y="57041"/>
                  </a:cubicBezTo>
                  <a:cubicBezTo>
                    <a:pt x="1774353" y="60745"/>
                    <a:pt x="1778879" y="64551"/>
                    <a:pt x="1783457" y="68614"/>
                  </a:cubicBezTo>
                  <a:cubicBezTo>
                    <a:pt x="1785515" y="70363"/>
                    <a:pt x="1787520" y="72163"/>
                    <a:pt x="1789475" y="74015"/>
                  </a:cubicBezTo>
                  <a:cubicBezTo>
                    <a:pt x="1797662" y="81377"/>
                    <a:pt x="1805327" y="89300"/>
                    <a:pt x="1812415" y="97727"/>
                  </a:cubicBezTo>
                  <a:cubicBezTo>
                    <a:pt x="1813701" y="99270"/>
                    <a:pt x="1814884" y="100710"/>
                    <a:pt x="1816067" y="102253"/>
                  </a:cubicBezTo>
                  <a:cubicBezTo>
                    <a:pt x="1818587" y="105390"/>
                    <a:pt x="1821211" y="108579"/>
                    <a:pt x="1823216" y="111820"/>
                  </a:cubicBezTo>
                  <a:cubicBezTo>
                    <a:pt x="1824400" y="113414"/>
                    <a:pt x="1825531" y="115060"/>
                    <a:pt x="1826663" y="116706"/>
                  </a:cubicBezTo>
                  <a:cubicBezTo>
                    <a:pt x="1828566" y="119535"/>
                    <a:pt x="1830417" y="122415"/>
                    <a:pt x="1832217" y="125296"/>
                  </a:cubicBezTo>
                  <a:lnTo>
                    <a:pt x="1834892" y="129719"/>
                  </a:lnTo>
                  <a:cubicBezTo>
                    <a:pt x="1836487" y="132497"/>
                    <a:pt x="1838081" y="135325"/>
                    <a:pt x="1839624" y="138206"/>
                  </a:cubicBezTo>
                  <a:cubicBezTo>
                    <a:pt x="1840379" y="139543"/>
                    <a:pt x="1841099" y="140932"/>
                    <a:pt x="1841785" y="142372"/>
                  </a:cubicBezTo>
                  <a:cubicBezTo>
                    <a:pt x="1844305" y="147156"/>
                    <a:pt x="1846568" y="151990"/>
                    <a:pt x="1848780" y="156928"/>
                  </a:cubicBezTo>
                  <a:cubicBezTo>
                    <a:pt x="1849294" y="158214"/>
                    <a:pt x="1849860" y="159500"/>
                    <a:pt x="1850374" y="160837"/>
                  </a:cubicBezTo>
                  <a:cubicBezTo>
                    <a:pt x="1852432" y="165981"/>
                    <a:pt x="1854283" y="170764"/>
                    <a:pt x="1856032" y="175856"/>
                  </a:cubicBezTo>
                  <a:cubicBezTo>
                    <a:pt x="1856701" y="177759"/>
                    <a:pt x="1857266" y="179611"/>
                    <a:pt x="1857884" y="181514"/>
                  </a:cubicBezTo>
                  <a:cubicBezTo>
                    <a:pt x="1861291" y="192480"/>
                    <a:pt x="1863937" y="203668"/>
                    <a:pt x="1865805" y="214998"/>
                  </a:cubicBezTo>
                  <a:cubicBezTo>
                    <a:pt x="1865805" y="216181"/>
                    <a:pt x="1866216" y="217416"/>
                    <a:pt x="1866370" y="218702"/>
                  </a:cubicBezTo>
                  <a:cubicBezTo>
                    <a:pt x="1866525" y="219988"/>
                    <a:pt x="1866936" y="222662"/>
                    <a:pt x="1867194" y="224668"/>
                  </a:cubicBezTo>
                  <a:cubicBezTo>
                    <a:pt x="1867451" y="226674"/>
                    <a:pt x="1867656" y="228680"/>
                    <a:pt x="1867862" y="230737"/>
                  </a:cubicBezTo>
                  <a:cubicBezTo>
                    <a:pt x="1868068" y="232795"/>
                    <a:pt x="1868222" y="234801"/>
                    <a:pt x="1868428" y="236807"/>
                  </a:cubicBezTo>
                  <a:cubicBezTo>
                    <a:pt x="1868428" y="240562"/>
                    <a:pt x="1868839" y="244316"/>
                    <a:pt x="1868942" y="248122"/>
                  </a:cubicBezTo>
                  <a:cubicBezTo>
                    <a:pt x="1868942" y="250557"/>
                    <a:pt x="1868942" y="252974"/>
                    <a:pt x="1868942" y="255375"/>
                  </a:cubicBezTo>
                  <a:close/>
                </a:path>
              </a:pathLst>
            </a:custGeom>
            <a:solidFill>
              <a:srgbClr val="00000C"/>
            </a:solidFill>
            <a:ln w="5144" cap="flat">
              <a:noFill/>
              <a:prstDash val="solid"/>
              <a:miter/>
            </a:ln>
          </p:spPr>
          <p:txBody>
            <a:bodyPr rtlCol="0" anchor="ctr"/>
            <a:lstStyle/>
            <a:p>
              <a:endParaRPr lang="de-DE" sz="3333"/>
            </a:p>
          </p:txBody>
        </p:sp>
        <p:sp>
          <p:nvSpPr>
            <p:cNvPr id="45" name="Freeform 44">
              <a:extLst>
                <a:ext uri="{FF2B5EF4-FFF2-40B4-BE49-F238E27FC236}">
                  <a16:creationId xmlns:a16="http://schemas.microsoft.com/office/drawing/2014/main" id="{BBE47DD9-DCEC-4682-8090-9437BC5F6EBF}"/>
                </a:ext>
              </a:extLst>
            </p:cNvPr>
            <p:cNvSpPr/>
            <p:nvPr/>
          </p:nvSpPr>
          <p:spPr>
            <a:xfrm>
              <a:off x="3641077" y="710060"/>
              <a:ext cx="236601" cy="3722813"/>
            </a:xfrm>
            <a:custGeom>
              <a:avLst/>
              <a:gdLst>
                <a:gd name="connsiteX0" fmla="*/ 224308 w 236601"/>
                <a:gd name="connsiteY0" fmla="*/ 3722814 h 3722813"/>
                <a:gd name="connsiteX1" fmla="*/ 218341 w 236601"/>
                <a:gd name="connsiteY1" fmla="*/ 3722197 h 3722813"/>
                <a:gd name="connsiteX2" fmla="*/ 218341 w 236601"/>
                <a:gd name="connsiteY2" fmla="*/ 3722197 h 3722813"/>
                <a:gd name="connsiteX3" fmla="*/ 206666 w 236601"/>
                <a:gd name="connsiteY3" fmla="*/ 3720499 h 3722813"/>
                <a:gd name="connsiteX4" fmla="*/ 140263 w 236601"/>
                <a:gd name="connsiteY4" fmla="*/ 3699205 h 3722813"/>
                <a:gd name="connsiteX5" fmla="*/ 135891 w 236601"/>
                <a:gd name="connsiteY5" fmla="*/ 3697097 h 3722813"/>
                <a:gd name="connsiteX6" fmla="*/ 124936 w 236601"/>
                <a:gd name="connsiteY6" fmla="*/ 3691130 h 3722813"/>
                <a:gd name="connsiteX7" fmla="*/ 120049 w 236601"/>
                <a:gd name="connsiteY7" fmla="*/ 3688198 h 3722813"/>
                <a:gd name="connsiteX8" fmla="*/ 96543 w 236601"/>
                <a:gd name="connsiteY8" fmla="*/ 3672047 h 3722813"/>
                <a:gd name="connsiteX9" fmla="*/ 92532 w 236601"/>
                <a:gd name="connsiteY9" fmla="*/ 3668910 h 3722813"/>
                <a:gd name="connsiteX10" fmla="*/ 80907 w 236601"/>
                <a:gd name="connsiteY10" fmla="*/ 3658932 h 3722813"/>
                <a:gd name="connsiteX11" fmla="*/ 77307 w 236601"/>
                <a:gd name="connsiteY11" fmla="*/ 3655486 h 3722813"/>
                <a:gd name="connsiteX12" fmla="*/ 73141 w 236601"/>
                <a:gd name="connsiteY12" fmla="*/ 3651473 h 3722813"/>
                <a:gd name="connsiteX13" fmla="*/ 69077 w 236601"/>
                <a:gd name="connsiteY13" fmla="*/ 3647359 h 3722813"/>
                <a:gd name="connsiteX14" fmla="*/ 66505 w 236601"/>
                <a:gd name="connsiteY14" fmla="*/ 3644581 h 3722813"/>
                <a:gd name="connsiteX15" fmla="*/ 63265 w 236601"/>
                <a:gd name="connsiteY15" fmla="*/ 3641032 h 3722813"/>
                <a:gd name="connsiteX16" fmla="*/ 45520 w 236601"/>
                <a:gd name="connsiteY16" fmla="*/ 3618709 h 3722813"/>
                <a:gd name="connsiteX17" fmla="*/ 42588 w 236601"/>
                <a:gd name="connsiteY17" fmla="*/ 3614543 h 3722813"/>
                <a:gd name="connsiteX18" fmla="*/ 34153 w 236601"/>
                <a:gd name="connsiteY18" fmla="*/ 3601170 h 3722813"/>
                <a:gd name="connsiteX19" fmla="*/ 31324 w 236601"/>
                <a:gd name="connsiteY19" fmla="*/ 3596027 h 3722813"/>
                <a:gd name="connsiteX20" fmla="*/ 13939 w 236601"/>
                <a:gd name="connsiteY20" fmla="*/ 3557347 h 3722813"/>
                <a:gd name="connsiteX21" fmla="*/ 12087 w 236601"/>
                <a:gd name="connsiteY21" fmla="*/ 3551844 h 3722813"/>
                <a:gd name="connsiteX22" fmla="*/ 4732 w 236601"/>
                <a:gd name="connsiteY22" fmla="*/ 3523452 h 3722813"/>
                <a:gd name="connsiteX23" fmla="*/ 3549 w 236601"/>
                <a:gd name="connsiteY23" fmla="*/ 3517897 h 3722813"/>
                <a:gd name="connsiteX24" fmla="*/ 0 w 236601"/>
                <a:gd name="connsiteY24" fmla="*/ 3475926 h 3722813"/>
                <a:gd name="connsiteX25" fmla="*/ 0 w 236601"/>
                <a:gd name="connsiteY25" fmla="*/ 247814 h 3722813"/>
                <a:gd name="connsiteX26" fmla="*/ 236601 w 236601"/>
                <a:gd name="connsiteY26" fmla="*/ 0 h 3722813"/>
                <a:gd name="connsiteX27" fmla="*/ 23814 w 236601"/>
                <a:gd name="connsiteY27" fmla="*/ 224154 h 3722813"/>
                <a:gd name="connsiteX28" fmla="*/ 23814 w 236601"/>
                <a:gd name="connsiteY28" fmla="*/ 3499586 h 3722813"/>
                <a:gd name="connsiteX29" fmla="*/ 224308 w 236601"/>
                <a:gd name="connsiteY29" fmla="*/ 3722814 h 372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6601" h="3722813">
                  <a:moveTo>
                    <a:pt x="224308" y="3722814"/>
                  </a:moveTo>
                  <a:lnTo>
                    <a:pt x="218341" y="3722197"/>
                  </a:lnTo>
                  <a:lnTo>
                    <a:pt x="218341" y="3722197"/>
                  </a:lnTo>
                  <a:cubicBezTo>
                    <a:pt x="214381" y="3721734"/>
                    <a:pt x="210523" y="3721168"/>
                    <a:pt x="206666" y="3720499"/>
                  </a:cubicBezTo>
                  <a:cubicBezTo>
                    <a:pt x="183640" y="3716562"/>
                    <a:pt x="161285" y="3709393"/>
                    <a:pt x="140263" y="3699205"/>
                  </a:cubicBezTo>
                  <a:lnTo>
                    <a:pt x="135891" y="3697097"/>
                  </a:lnTo>
                  <a:cubicBezTo>
                    <a:pt x="132188" y="3695142"/>
                    <a:pt x="128536" y="3693188"/>
                    <a:pt x="124936" y="3691130"/>
                  </a:cubicBezTo>
                  <a:lnTo>
                    <a:pt x="120049" y="3688198"/>
                  </a:lnTo>
                  <a:cubicBezTo>
                    <a:pt x="111894" y="3683295"/>
                    <a:pt x="104044" y="3677902"/>
                    <a:pt x="96543" y="3672047"/>
                  </a:cubicBezTo>
                  <a:lnTo>
                    <a:pt x="92532" y="3668910"/>
                  </a:lnTo>
                  <a:cubicBezTo>
                    <a:pt x="88571" y="3665670"/>
                    <a:pt x="84662" y="3662378"/>
                    <a:pt x="80907" y="3658932"/>
                  </a:cubicBezTo>
                  <a:lnTo>
                    <a:pt x="77307" y="3655486"/>
                  </a:lnTo>
                  <a:lnTo>
                    <a:pt x="73141" y="3651473"/>
                  </a:lnTo>
                  <a:lnTo>
                    <a:pt x="69077" y="3647359"/>
                  </a:lnTo>
                  <a:cubicBezTo>
                    <a:pt x="68203" y="3646433"/>
                    <a:pt x="67328" y="3645559"/>
                    <a:pt x="66505" y="3644581"/>
                  </a:cubicBezTo>
                  <a:cubicBezTo>
                    <a:pt x="65682" y="3643604"/>
                    <a:pt x="64294" y="3642215"/>
                    <a:pt x="63265" y="3641032"/>
                  </a:cubicBezTo>
                  <a:cubicBezTo>
                    <a:pt x="56924" y="3633940"/>
                    <a:pt x="50999" y="3626487"/>
                    <a:pt x="45520" y="3618709"/>
                  </a:cubicBezTo>
                  <a:cubicBezTo>
                    <a:pt x="44491" y="3617321"/>
                    <a:pt x="43565" y="3615932"/>
                    <a:pt x="42588" y="3614543"/>
                  </a:cubicBezTo>
                  <a:cubicBezTo>
                    <a:pt x="39605" y="3610171"/>
                    <a:pt x="36827" y="3605748"/>
                    <a:pt x="34153" y="3601170"/>
                  </a:cubicBezTo>
                  <a:cubicBezTo>
                    <a:pt x="33175" y="3599576"/>
                    <a:pt x="32250" y="3597930"/>
                    <a:pt x="31324" y="3596027"/>
                  </a:cubicBezTo>
                  <a:cubicBezTo>
                    <a:pt x="24439" y="3583652"/>
                    <a:pt x="18623" y="3570712"/>
                    <a:pt x="13939" y="3557347"/>
                  </a:cubicBezTo>
                  <a:cubicBezTo>
                    <a:pt x="13270" y="3555496"/>
                    <a:pt x="12653" y="3553696"/>
                    <a:pt x="12087" y="3551844"/>
                  </a:cubicBezTo>
                  <a:cubicBezTo>
                    <a:pt x="9088" y="3542530"/>
                    <a:pt x="6632" y="3533050"/>
                    <a:pt x="4732" y="3523452"/>
                  </a:cubicBezTo>
                  <a:lnTo>
                    <a:pt x="3549" y="3517897"/>
                  </a:lnTo>
                  <a:cubicBezTo>
                    <a:pt x="1191" y="3504031"/>
                    <a:pt x="4" y="3489991"/>
                    <a:pt x="0" y="3475926"/>
                  </a:cubicBezTo>
                  <a:lnTo>
                    <a:pt x="0" y="247814"/>
                  </a:lnTo>
                  <a:cubicBezTo>
                    <a:pt x="179" y="115338"/>
                    <a:pt x="104275" y="6308"/>
                    <a:pt x="236601" y="0"/>
                  </a:cubicBezTo>
                  <a:cubicBezTo>
                    <a:pt x="117393" y="6339"/>
                    <a:pt x="23947" y="104778"/>
                    <a:pt x="23814" y="224154"/>
                  </a:cubicBezTo>
                  <a:lnTo>
                    <a:pt x="23814" y="3499586"/>
                  </a:lnTo>
                  <a:cubicBezTo>
                    <a:pt x="23931" y="3614240"/>
                    <a:pt x="110325" y="3710430"/>
                    <a:pt x="224308" y="3722814"/>
                  </a:cubicBezTo>
                  <a:close/>
                </a:path>
              </a:pathLst>
            </a:custGeom>
            <a:gradFill>
              <a:gsLst>
                <a:gs pos="0">
                  <a:srgbClr val="666666"/>
                </a:gs>
                <a:gs pos="50000">
                  <a:srgbClr val="333333"/>
                </a:gs>
                <a:gs pos="100000">
                  <a:srgbClr val="000000"/>
                </a:gs>
              </a:gsLst>
              <a:lin ang="0" scaled="1"/>
            </a:gradFill>
            <a:ln w="5144" cap="flat">
              <a:noFill/>
              <a:prstDash val="solid"/>
              <a:miter/>
            </a:ln>
          </p:spPr>
          <p:txBody>
            <a:bodyPr rtlCol="0" anchor="ctr"/>
            <a:lstStyle/>
            <a:p>
              <a:endParaRPr lang="de-DE" sz="3333"/>
            </a:p>
          </p:txBody>
        </p:sp>
        <p:sp>
          <p:nvSpPr>
            <p:cNvPr id="46" name="Freeform 45">
              <a:extLst>
                <a:ext uri="{FF2B5EF4-FFF2-40B4-BE49-F238E27FC236}">
                  <a16:creationId xmlns:a16="http://schemas.microsoft.com/office/drawing/2014/main" id="{43310E77-BF7B-6607-358B-4CE9B431C429}"/>
                </a:ext>
              </a:extLst>
            </p:cNvPr>
            <p:cNvSpPr/>
            <p:nvPr/>
          </p:nvSpPr>
          <p:spPr>
            <a:xfrm>
              <a:off x="5272904" y="710420"/>
              <a:ext cx="230068" cy="3722556"/>
            </a:xfrm>
            <a:custGeom>
              <a:avLst/>
              <a:gdLst>
                <a:gd name="connsiteX0" fmla="*/ 230069 w 230068"/>
                <a:gd name="connsiteY0" fmla="*/ 247454 h 3722556"/>
                <a:gd name="connsiteX1" fmla="*/ 230069 w 230068"/>
                <a:gd name="connsiteY1" fmla="*/ 3475515 h 3722556"/>
                <a:gd name="connsiteX2" fmla="*/ 218084 w 230068"/>
                <a:gd name="connsiteY2" fmla="*/ 3551741 h 3722556"/>
                <a:gd name="connsiteX3" fmla="*/ 216233 w 230068"/>
                <a:gd name="connsiteY3" fmla="*/ 3557245 h 3722556"/>
                <a:gd name="connsiteX4" fmla="*/ 214227 w 230068"/>
                <a:gd name="connsiteY4" fmla="*/ 3562697 h 3722556"/>
                <a:gd name="connsiteX5" fmla="*/ 212684 w 230068"/>
                <a:gd name="connsiteY5" fmla="*/ 3566760 h 3722556"/>
                <a:gd name="connsiteX6" fmla="*/ 207540 w 230068"/>
                <a:gd name="connsiteY6" fmla="*/ 3578693 h 3722556"/>
                <a:gd name="connsiteX7" fmla="*/ 205071 w 230068"/>
                <a:gd name="connsiteY7" fmla="*/ 3583837 h 3722556"/>
                <a:gd name="connsiteX8" fmla="*/ 201471 w 230068"/>
                <a:gd name="connsiteY8" fmla="*/ 3590986 h 3722556"/>
                <a:gd name="connsiteX9" fmla="*/ 198899 w 230068"/>
                <a:gd name="connsiteY9" fmla="*/ 3595718 h 3722556"/>
                <a:gd name="connsiteX10" fmla="*/ 196070 w 230068"/>
                <a:gd name="connsiteY10" fmla="*/ 3600862 h 3722556"/>
                <a:gd name="connsiteX11" fmla="*/ 187583 w 230068"/>
                <a:gd name="connsiteY11" fmla="*/ 3614338 h 3722556"/>
                <a:gd name="connsiteX12" fmla="*/ 184651 w 230068"/>
                <a:gd name="connsiteY12" fmla="*/ 3618504 h 3722556"/>
                <a:gd name="connsiteX13" fmla="*/ 181308 w 230068"/>
                <a:gd name="connsiteY13" fmla="*/ 3623082 h 3722556"/>
                <a:gd name="connsiteX14" fmla="*/ 177913 w 230068"/>
                <a:gd name="connsiteY14" fmla="*/ 3627659 h 3722556"/>
                <a:gd name="connsiteX15" fmla="*/ 174364 w 230068"/>
                <a:gd name="connsiteY15" fmla="*/ 3632083 h 3722556"/>
                <a:gd name="connsiteX16" fmla="*/ 170661 w 230068"/>
                <a:gd name="connsiteY16" fmla="*/ 3636506 h 3722556"/>
                <a:gd name="connsiteX17" fmla="*/ 163049 w 230068"/>
                <a:gd name="connsiteY17" fmla="*/ 3644993 h 3722556"/>
                <a:gd name="connsiteX18" fmla="*/ 150653 w 230068"/>
                <a:gd name="connsiteY18" fmla="*/ 3657389 h 3722556"/>
                <a:gd name="connsiteX19" fmla="*/ 146795 w 230068"/>
                <a:gd name="connsiteY19" fmla="*/ 3660886 h 3722556"/>
                <a:gd name="connsiteX20" fmla="*/ 137691 w 230068"/>
                <a:gd name="connsiteY20" fmla="*/ 3668704 h 3722556"/>
                <a:gd name="connsiteX21" fmla="*/ 133628 w 230068"/>
                <a:gd name="connsiteY21" fmla="*/ 3671842 h 3722556"/>
                <a:gd name="connsiteX22" fmla="*/ 119741 w 230068"/>
                <a:gd name="connsiteY22" fmla="*/ 3681872 h 3722556"/>
                <a:gd name="connsiteX23" fmla="*/ 114957 w 230068"/>
                <a:gd name="connsiteY23" fmla="*/ 3684958 h 3722556"/>
                <a:gd name="connsiteX24" fmla="*/ 105133 w 230068"/>
                <a:gd name="connsiteY24" fmla="*/ 3690924 h 3722556"/>
                <a:gd name="connsiteX25" fmla="*/ 99990 w 230068"/>
                <a:gd name="connsiteY25" fmla="*/ 3693650 h 3722556"/>
                <a:gd name="connsiteX26" fmla="*/ 83633 w 230068"/>
                <a:gd name="connsiteY26" fmla="*/ 3701777 h 3722556"/>
                <a:gd name="connsiteX27" fmla="*/ 79210 w 230068"/>
                <a:gd name="connsiteY27" fmla="*/ 3703732 h 3722556"/>
                <a:gd name="connsiteX28" fmla="*/ 74066 w 230068"/>
                <a:gd name="connsiteY28" fmla="*/ 3705943 h 3722556"/>
                <a:gd name="connsiteX29" fmla="*/ 68923 w 230068"/>
                <a:gd name="connsiteY29" fmla="*/ 3708052 h 3722556"/>
                <a:gd name="connsiteX30" fmla="*/ 56681 w 230068"/>
                <a:gd name="connsiteY30" fmla="*/ 3712270 h 3722556"/>
                <a:gd name="connsiteX31" fmla="*/ 52309 w 230068"/>
                <a:gd name="connsiteY31" fmla="*/ 3713607 h 3722556"/>
                <a:gd name="connsiteX32" fmla="*/ 35799 w 230068"/>
                <a:gd name="connsiteY32" fmla="*/ 3717876 h 3722556"/>
                <a:gd name="connsiteX33" fmla="*/ 29935 w 230068"/>
                <a:gd name="connsiteY33" fmla="*/ 3719111 h 3722556"/>
                <a:gd name="connsiteX34" fmla="*/ 23660 w 230068"/>
                <a:gd name="connsiteY34" fmla="*/ 3720242 h 3722556"/>
                <a:gd name="connsiteX35" fmla="*/ 12036 w 230068"/>
                <a:gd name="connsiteY35" fmla="*/ 3721939 h 3722556"/>
                <a:gd name="connsiteX36" fmla="*/ 12036 w 230068"/>
                <a:gd name="connsiteY36" fmla="*/ 3721939 h 3722556"/>
                <a:gd name="connsiteX37" fmla="*/ 6069 w 230068"/>
                <a:gd name="connsiteY37" fmla="*/ 3722557 h 3722556"/>
                <a:gd name="connsiteX38" fmla="*/ 206666 w 230068"/>
                <a:gd name="connsiteY38" fmla="*/ 3499329 h 3722556"/>
                <a:gd name="connsiteX39" fmla="*/ 206666 w 230068"/>
                <a:gd name="connsiteY39" fmla="*/ 223794 h 3722556"/>
                <a:gd name="connsiteX40" fmla="*/ 0 w 230068"/>
                <a:gd name="connsiteY40" fmla="*/ 0 h 3722556"/>
                <a:gd name="connsiteX41" fmla="*/ 230069 w 230068"/>
                <a:gd name="connsiteY41" fmla="*/ 247454 h 372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0068" h="3722556">
                  <a:moveTo>
                    <a:pt x="230069" y="247454"/>
                  </a:moveTo>
                  <a:lnTo>
                    <a:pt x="230069" y="3475515"/>
                  </a:lnTo>
                  <a:cubicBezTo>
                    <a:pt x="230086" y="3501394"/>
                    <a:pt x="226042" y="3527116"/>
                    <a:pt x="218084" y="3551741"/>
                  </a:cubicBezTo>
                  <a:cubicBezTo>
                    <a:pt x="217519" y="3553593"/>
                    <a:pt x="216901" y="3555444"/>
                    <a:pt x="216233" y="3557245"/>
                  </a:cubicBezTo>
                  <a:cubicBezTo>
                    <a:pt x="215564" y="3559045"/>
                    <a:pt x="214947" y="3560897"/>
                    <a:pt x="214227" y="3562697"/>
                  </a:cubicBezTo>
                  <a:cubicBezTo>
                    <a:pt x="213507" y="3564497"/>
                    <a:pt x="213249" y="3565423"/>
                    <a:pt x="212684" y="3566760"/>
                  </a:cubicBezTo>
                  <a:cubicBezTo>
                    <a:pt x="211089" y="3570772"/>
                    <a:pt x="209340" y="3574784"/>
                    <a:pt x="207540" y="3578693"/>
                  </a:cubicBezTo>
                  <a:cubicBezTo>
                    <a:pt x="206752" y="3580442"/>
                    <a:pt x="205928" y="3582156"/>
                    <a:pt x="205071" y="3583837"/>
                  </a:cubicBezTo>
                  <a:cubicBezTo>
                    <a:pt x="203888" y="3586254"/>
                    <a:pt x="202705" y="3588620"/>
                    <a:pt x="201471" y="3590986"/>
                  </a:cubicBezTo>
                  <a:cubicBezTo>
                    <a:pt x="200236" y="3593352"/>
                    <a:pt x="199773" y="3594124"/>
                    <a:pt x="198899" y="3595718"/>
                  </a:cubicBezTo>
                  <a:cubicBezTo>
                    <a:pt x="198025" y="3597313"/>
                    <a:pt x="197047" y="3599010"/>
                    <a:pt x="196070" y="3600862"/>
                  </a:cubicBezTo>
                  <a:cubicBezTo>
                    <a:pt x="193395" y="3605439"/>
                    <a:pt x="190567" y="3609914"/>
                    <a:pt x="187583" y="3614338"/>
                  </a:cubicBezTo>
                  <a:cubicBezTo>
                    <a:pt x="186606" y="3615726"/>
                    <a:pt x="185680" y="3617115"/>
                    <a:pt x="184651" y="3618504"/>
                  </a:cubicBezTo>
                  <a:cubicBezTo>
                    <a:pt x="183623" y="3619893"/>
                    <a:pt x="182440" y="3621590"/>
                    <a:pt x="181308" y="3623082"/>
                  </a:cubicBezTo>
                  <a:cubicBezTo>
                    <a:pt x="180177" y="3624573"/>
                    <a:pt x="179045" y="3626168"/>
                    <a:pt x="177913" y="3627659"/>
                  </a:cubicBezTo>
                  <a:lnTo>
                    <a:pt x="174364" y="3632083"/>
                  </a:lnTo>
                  <a:cubicBezTo>
                    <a:pt x="173182" y="3633574"/>
                    <a:pt x="171947" y="3635066"/>
                    <a:pt x="170661" y="3636506"/>
                  </a:cubicBezTo>
                  <a:cubicBezTo>
                    <a:pt x="168192" y="3639386"/>
                    <a:pt x="165518" y="3642267"/>
                    <a:pt x="163049" y="3644993"/>
                  </a:cubicBezTo>
                  <a:cubicBezTo>
                    <a:pt x="159088" y="3649262"/>
                    <a:pt x="154974" y="3653377"/>
                    <a:pt x="150653" y="3657389"/>
                  </a:cubicBezTo>
                  <a:lnTo>
                    <a:pt x="146795" y="3660886"/>
                  </a:lnTo>
                  <a:cubicBezTo>
                    <a:pt x="143812" y="3663561"/>
                    <a:pt x="140778" y="3666030"/>
                    <a:pt x="137691" y="3668704"/>
                  </a:cubicBezTo>
                  <a:lnTo>
                    <a:pt x="133628" y="3671842"/>
                  </a:lnTo>
                  <a:cubicBezTo>
                    <a:pt x="129102" y="3675271"/>
                    <a:pt x="124472" y="3678614"/>
                    <a:pt x="119741" y="3681872"/>
                  </a:cubicBezTo>
                  <a:lnTo>
                    <a:pt x="114957" y="3684958"/>
                  </a:lnTo>
                  <a:cubicBezTo>
                    <a:pt x="111717" y="3687067"/>
                    <a:pt x="108425" y="3689021"/>
                    <a:pt x="105133" y="3690924"/>
                  </a:cubicBezTo>
                  <a:lnTo>
                    <a:pt x="99990" y="3693650"/>
                  </a:lnTo>
                  <a:cubicBezTo>
                    <a:pt x="94846" y="3696582"/>
                    <a:pt x="89188" y="3699308"/>
                    <a:pt x="83633" y="3701777"/>
                  </a:cubicBezTo>
                  <a:cubicBezTo>
                    <a:pt x="82142" y="3702497"/>
                    <a:pt x="80650" y="3703114"/>
                    <a:pt x="79210" y="3703732"/>
                  </a:cubicBezTo>
                  <a:cubicBezTo>
                    <a:pt x="77770" y="3704349"/>
                    <a:pt x="75712" y="3705275"/>
                    <a:pt x="74066" y="3705943"/>
                  </a:cubicBezTo>
                  <a:lnTo>
                    <a:pt x="68923" y="3708052"/>
                  </a:lnTo>
                  <a:cubicBezTo>
                    <a:pt x="64859" y="3709544"/>
                    <a:pt x="60796" y="3710984"/>
                    <a:pt x="56681" y="3712270"/>
                  </a:cubicBezTo>
                  <a:lnTo>
                    <a:pt x="52309" y="3713607"/>
                  </a:lnTo>
                  <a:cubicBezTo>
                    <a:pt x="47166" y="3715202"/>
                    <a:pt x="41405" y="3716642"/>
                    <a:pt x="35799" y="3717876"/>
                  </a:cubicBezTo>
                  <a:lnTo>
                    <a:pt x="29935" y="3719111"/>
                  </a:lnTo>
                  <a:lnTo>
                    <a:pt x="23660" y="3720242"/>
                  </a:lnTo>
                  <a:cubicBezTo>
                    <a:pt x="19802" y="3720911"/>
                    <a:pt x="15893" y="3721477"/>
                    <a:pt x="12036" y="3721939"/>
                  </a:cubicBezTo>
                  <a:lnTo>
                    <a:pt x="12036" y="3721939"/>
                  </a:lnTo>
                  <a:lnTo>
                    <a:pt x="6069" y="3722557"/>
                  </a:lnTo>
                  <a:cubicBezTo>
                    <a:pt x="120082" y="3710199"/>
                    <a:pt x="206520" y="3614009"/>
                    <a:pt x="206666" y="3499329"/>
                  </a:cubicBezTo>
                  <a:lnTo>
                    <a:pt x="206666" y="223794"/>
                  </a:lnTo>
                  <a:cubicBezTo>
                    <a:pt x="206513" y="106781"/>
                    <a:pt x="116630" y="9450"/>
                    <a:pt x="0" y="0"/>
                  </a:cubicBezTo>
                  <a:cubicBezTo>
                    <a:pt x="129611" y="9606"/>
                    <a:pt x="229913" y="117487"/>
                    <a:pt x="230069" y="247454"/>
                  </a:cubicBezTo>
                  <a:close/>
                </a:path>
              </a:pathLst>
            </a:custGeom>
            <a:gradFill>
              <a:gsLst>
                <a:gs pos="0">
                  <a:srgbClr val="000000"/>
                </a:gs>
                <a:gs pos="50000">
                  <a:srgbClr val="333333"/>
                </a:gs>
                <a:gs pos="100000">
                  <a:srgbClr val="666666"/>
                </a:gs>
              </a:gsLst>
              <a:lin ang="0" scaled="1"/>
            </a:gradFill>
            <a:ln w="5144" cap="flat">
              <a:noFill/>
              <a:prstDash val="solid"/>
              <a:miter/>
            </a:ln>
          </p:spPr>
          <p:txBody>
            <a:bodyPr rtlCol="0" anchor="ctr"/>
            <a:lstStyle/>
            <a:p>
              <a:endParaRPr lang="de-DE" sz="3333"/>
            </a:p>
          </p:txBody>
        </p:sp>
        <p:sp>
          <p:nvSpPr>
            <p:cNvPr id="47" name="Freeform 46">
              <a:extLst>
                <a:ext uri="{FF2B5EF4-FFF2-40B4-BE49-F238E27FC236}">
                  <a16:creationId xmlns:a16="http://schemas.microsoft.com/office/drawing/2014/main" id="{6BD27018-0A6A-12AD-AE12-61C2136BD701}"/>
                </a:ext>
              </a:extLst>
            </p:cNvPr>
            <p:cNvSpPr/>
            <p:nvPr/>
          </p:nvSpPr>
          <p:spPr>
            <a:xfrm>
              <a:off x="3641026" y="4185934"/>
              <a:ext cx="1861947" cy="271782"/>
            </a:xfrm>
            <a:custGeom>
              <a:avLst/>
              <a:gdLst>
                <a:gd name="connsiteX0" fmla="*/ 1861947 w 1861947"/>
                <a:gd name="connsiteY0" fmla="*/ 0 h 271782"/>
                <a:gd name="connsiteX1" fmla="*/ 1861947 w 1861947"/>
                <a:gd name="connsiteY1" fmla="*/ 23712 h 271782"/>
                <a:gd name="connsiteX2" fmla="*/ 1613825 w 1861947"/>
                <a:gd name="connsiteY2" fmla="*/ 271783 h 271782"/>
                <a:gd name="connsiteX3" fmla="*/ 248225 w 1861947"/>
                <a:gd name="connsiteY3" fmla="*/ 271783 h 271782"/>
                <a:gd name="connsiteX4" fmla="*/ 0 w 1861947"/>
                <a:gd name="connsiteY4" fmla="*/ 23712 h 271782"/>
                <a:gd name="connsiteX5" fmla="*/ 0 w 1861947"/>
                <a:gd name="connsiteY5" fmla="*/ 0 h 271782"/>
                <a:gd name="connsiteX6" fmla="*/ 3549 w 1861947"/>
                <a:gd name="connsiteY6" fmla="*/ 41971 h 271782"/>
                <a:gd name="connsiteX7" fmla="*/ 4629 w 1861947"/>
                <a:gd name="connsiteY7" fmla="*/ 47835 h 271782"/>
                <a:gd name="connsiteX8" fmla="*/ 11984 w 1861947"/>
                <a:gd name="connsiteY8" fmla="*/ 76227 h 271782"/>
                <a:gd name="connsiteX9" fmla="*/ 13836 w 1861947"/>
                <a:gd name="connsiteY9" fmla="*/ 81730 h 271782"/>
                <a:gd name="connsiteX10" fmla="*/ 31221 w 1861947"/>
                <a:gd name="connsiteY10" fmla="*/ 120410 h 271782"/>
                <a:gd name="connsiteX11" fmla="*/ 34050 w 1861947"/>
                <a:gd name="connsiteY11" fmla="*/ 125553 h 271782"/>
                <a:gd name="connsiteX12" fmla="*/ 42485 w 1861947"/>
                <a:gd name="connsiteY12" fmla="*/ 138926 h 271782"/>
                <a:gd name="connsiteX13" fmla="*/ 45417 w 1861947"/>
                <a:gd name="connsiteY13" fmla="*/ 143093 h 271782"/>
                <a:gd name="connsiteX14" fmla="*/ 63162 w 1861947"/>
                <a:gd name="connsiteY14" fmla="*/ 165415 h 271782"/>
                <a:gd name="connsiteX15" fmla="*/ 66403 w 1861947"/>
                <a:gd name="connsiteY15" fmla="*/ 168964 h 271782"/>
                <a:gd name="connsiteX16" fmla="*/ 68974 w 1861947"/>
                <a:gd name="connsiteY16" fmla="*/ 171742 h 271782"/>
                <a:gd name="connsiteX17" fmla="*/ 73038 w 1861947"/>
                <a:gd name="connsiteY17" fmla="*/ 175857 h 271782"/>
                <a:gd name="connsiteX18" fmla="*/ 77204 w 1861947"/>
                <a:gd name="connsiteY18" fmla="*/ 179868 h 271782"/>
                <a:gd name="connsiteX19" fmla="*/ 80804 w 1861947"/>
                <a:gd name="connsiteY19" fmla="*/ 183314 h 271782"/>
                <a:gd name="connsiteX20" fmla="*/ 92429 w 1861947"/>
                <a:gd name="connsiteY20" fmla="*/ 193293 h 271782"/>
                <a:gd name="connsiteX21" fmla="*/ 96441 w 1861947"/>
                <a:gd name="connsiteY21" fmla="*/ 196431 h 271782"/>
                <a:gd name="connsiteX22" fmla="*/ 119946 w 1861947"/>
                <a:gd name="connsiteY22" fmla="*/ 212581 h 271782"/>
                <a:gd name="connsiteX23" fmla="*/ 124833 w 1861947"/>
                <a:gd name="connsiteY23" fmla="*/ 215513 h 271782"/>
                <a:gd name="connsiteX24" fmla="*/ 135788 w 1861947"/>
                <a:gd name="connsiteY24" fmla="*/ 221479 h 271782"/>
                <a:gd name="connsiteX25" fmla="*/ 140160 w 1861947"/>
                <a:gd name="connsiteY25" fmla="*/ 223588 h 271782"/>
                <a:gd name="connsiteX26" fmla="*/ 206563 w 1861947"/>
                <a:gd name="connsiteY26" fmla="*/ 244882 h 271782"/>
                <a:gd name="connsiteX27" fmla="*/ 218239 w 1861947"/>
                <a:gd name="connsiteY27" fmla="*/ 246580 h 271782"/>
                <a:gd name="connsiteX28" fmla="*/ 218239 w 1861947"/>
                <a:gd name="connsiteY28" fmla="*/ 246580 h 271782"/>
                <a:gd name="connsiteX29" fmla="*/ 230223 w 1861947"/>
                <a:gd name="connsiteY29" fmla="*/ 247711 h 271782"/>
                <a:gd name="connsiteX30" fmla="*/ 236395 w 1861947"/>
                <a:gd name="connsiteY30" fmla="*/ 248071 h 271782"/>
                <a:gd name="connsiteX31" fmla="*/ 248071 w 1861947"/>
                <a:gd name="connsiteY31" fmla="*/ 248380 h 271782"/>
                <a:gd name="connsiteX32" fmla="*/ 1613773 w 1861947"/>
                <a:gd name="connsiteY32" fmla="*/ 248380 h 271782"/>
                <a:gd name="connsiteX33" fmla="*/ 1625346 w 1861947"/>
                <a:gd name="connsiteY33" fmla="*/ 248071 h 271782"/>
                <a:gd name="connsiteX34" fmla="*/ 1631518 w 1861947"/>
                <a:gd name="connsiteY34" fmla="*/ 247711 h 271782"/>
                <a:gd name="connsiteX35" fmla="*/ 1641240 w 1861947"/>
                <a:gd name="connsiteY35" fmla="*/ 246785 h 271782"/>
                <a:gd name="connsiteX36" fmla="*/ 1643503 w 1861947"/>
                <a:gd name="connsiteY36" fmla="*/ 246785 h 271782"/>
                <a:gd name="connsiteX37" fmla="*/ 1643503 w 1861947"/>
                <a:gd name="connsiteY37" fmla="*/ 246785 h 271782"/>
                <a:gd name="connsiteX38" fmla="*/ 1655127 w 1861947"/>
                <a:gd name="connsiteY38" fmla="*/ 245088 h 271782"/>
                <a:gd name="connsiteX39" fmla="*/ 1661402 w 1861947"/>
                <a:gd name="connsiteY39" fmla="*/ 243956 h 271782"/>
                <a:gd name="connsiteX40" fmla="*/ 1667266 w 1861947"/>
                <a:gd name="connsiteY40" fmla="*/ 242722 h 271782"/>
                <a:gd name="connsiteX41" fmla="*/ 1683776 w 1861947"/>
                <a:gd name="connsiteY41" fmla="*/ 238453 h 271782"/>
                <a:gd name="connsiteX42" fmla="*/ 1688148 w 1861947"/>
                <a:gd name="connsiteY42" fmla="*/ 237116 h 271782"/>
                <a:gd name="connsiteX43" fmla="*/ 1700390 w 1861947"/>
                <a:gd name="connsiteY43" fmla="*/ 232898 h 271782"/>
                <a:gd name="connsiteX44" fmla="*/ 1705533 w 1861947"/>
                <a:gd name="connsiteY44" fmla="*/ 230789 h 271782"/>
                <a:gd name="connsiteX45" fmla="*/ 1710677 w 1861947"/>
                <a:gd name="connsiteY45" fmla="*/ 228577 h 271782"/>
                <a:gd name="connsiteX46" fmla="*/ 1715100 w 1861947"/>
                <a:gd name="connsiteY46" fmla="*/ 226623 h 271782"/>
                <a:gd name="connsiteX47" fmla="*/ 1731456 w 1861947"/>
                <a:gd name="connsiteY47" fmla="*/ 218496 h 271782"/>
                <a:gd name="connsiteX48" fmla="*/ 1736600 w 1861947"/>
                <a:gd name="connsiteY48" fmla="*/ 215770 h 271782"/>
                <a:gd name="connsiteX49" fmla="*/ 1746424 w 1861947"/>
                <a:gd name="connsiteY49" fmla="*/ 209804 h 271782"/>
                <a:gd name="connsiteX50" fmla="*/ 1751207 w 1861947"/>
                <a:gd name="connsiteY50" fmla="*/ 206718 h 271782"/>
                <a:gd name="connsiteX51" fmla="*/ 1765095 w 1861947"/>
                <a:gd name="connsiteY51" fmla="*/ 196688 h 271782"/>
                <a:gd name="connsiteX52" fmla="*/ 1769158 w 1861947"/>
                <a:gd name="connsiteY52" fmla="*/ 193550 h 271782"/>
                <a:gd name="connsiteX53" fmla="*/ 1778262 w 1861947"/>
                <a:gd name="connsiteY53" fmla="*/ 185732 h 271782"/>
                <a:gd name="connsiteX54" fmla="*/ 1782120 w 1861947"/>
                <a:gd name="connsiteY54" fmla="*/ 182234 h 271782"/>
                <a:gd name="connsiteX55" fmla="*/ 1794516 w 1861947"/>
                <a:gd name="connsiteY55" fmla="*/ 169838 h 271782"/>
                <a:gd name="connsiteX56" fmla="*/ 1802128 w 1861947"/>
                <a:gd name="connsiteY56" fmla="*/ 161352 h 271782"/>
                <a:gd name="connsiteX57" fmla="*/ 1805832 w 1861947"/>
                <a:gd name="connsiteY57" fmla="*/ 156929 h 271782"/>
                <a:gd name="connsiteX58" fmla="*/ 1809381 w 1861947"/>
                <a:gd name="connsiteY58" fmla="*/ 152505 h 271782"/>
                <a:gd name="connsiteX59" fmla="*/ 1812775 w 1861947"/>
                <a:gd name="connsiteY59" fmla="*/ 147927 h 271782"/>
                <a:gd name="connsiteX60" fmla="*/ 1816119 w 1861947"/>
                <a:gd name="connsiteY60" fmla="*/ 143350 h 271782"/>
                <a:gd name="connsiteX61" fmla="*/ 1819050 w 1861947"/>
                <a:gd name="connsiteY61" fmla="*/ 139183 h 271782"/>
                <a:gd name="connsiteX62" fmla="*/ 1827537 w 1861947"/>
                <a:gd name="connsiteY62" fmla="*/ 125707 h 271782"/>
                <a:gd name="connsiteX63" fmla="*/ 1830366 w 1861947"/>
                <a:gd name="connsiteY63" fmla="*/ 120564 h 271782"/>
                <a:gd name="connsiteX64" fmla="*/ 1832938 w 1861947"/>
                <a:gd name="connsiteY64" fmla="*/ 115832 h 271782"/>
                <a:gd name="connsiteX65" fmla="*/ 1836538 w 1861947"/>
                <a:gd name="connsiteY65" fmla="*/ 108682 h 271782"/>
                <a:gd name="connsiteX66" fmla="*/ 1839007 w 1861947"/>
                <a:gd name="connsiteY66" fmla="*/ 103539 h 271782"/>
                <a:gd name="connsiteX67" fmla="*/ 1844150 w 1861947"/>
                <a:gd name="connsiteY67" fmla="*/ 91606 h 271782"/>
                <a:gd name="connsiteX68" fmla="*/ 1845694 w 1861947"/>
                <a:gd name="connsiteY68" fmla="*/ 87542 h 271782"/>
                <a:gd name="connsiteX69" fmla="*/ 1847699 w 1861947"/>
                <a:gd name="connsiteY69" fmla="*/ 82090 h 271782"/>
                <a:gd name="connsiteX70" fmla="*/ 1849551 w 1861947"/>
                <a:gd name="connsiteY70" fmla="*/ 76587 h 271782"/>
                <a:gd name="connsiteX71" fmla="*/ 1861947 w 1861947"/>
                <a:gd name="connsiteY71" fmla="*/ 0 h 27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61947" h="271782">
                  <a:moveTo>
                    <a:pt x="1861947" y="0"/>
                  </a:moveTo>
                  <a:lnTo>
                    <a:pt x="1861947" y="23712"/>
                  </a:lnTo>
                  <a:cubicBezTo>
                    <a:pt x="1861777" y="160667"/>
                    <a:pt x="1750780" y="271641"/>
                    <a:pt x="1613825" y="271783"/>
                  </a:cubicBezTo>
                  <a:lnTo>
                    <a:pt x="248225" y="271783"/>
                  </a:lnTo>
                  <a:cubicBezTo>
                    <a:pt x="111230" y="271698"/>
                    <a:pt x="170" y="160707"/>
                    <a:pt x="0" y="23712"/>
                  </a:cubicBezTo>
                  <a:lnTo>
                    <a:pt x="0" y="0"/>
                  </a:lnTo>
                  <a:cubicBezTo>
                    <a:pt x="4" y="14066"/>
                    <a:pt x="1191" y="28105"/>
                    <a:pt x="3549" y="41971"/>
                  </a:cubicBezTo>
                  <a:lnTo>
                    <a:pt x="4629" y="47835"/>
                  </a:lnTo>
                  <a:cubicBezTo>
                    <a:pt x="6529" y="57433"/>
                    <a:pt x="8985" y="66913"/>
                    <a:pt x="11984" y="76227"/>
                  </a:cubicBezTo>
                  <a:cubicBezTo>
                    <a:pt x="12550" y="78079"/>
                    <a:pt x="13167" y="79879"/>
                    <a:pt x="13836" y="81730"/>
                  </a:cubicBezTo>
                  <a:cubicBezTo>
                    <a:pt x="18520" y="95094"/>
                    <a:pt x="24336" y="108035"/>
                    <a:pt x="31221" y="120410"/>
                  </a:cubicBezTo>
                  <a:cubicBezTo>
                    <a:pt x="32147" y="122055"/>
                    <a:pt x="33073" y="123701"/>
                    <a:pt x="34050" y="125553"/>
                  </a:cubicBezTo>
                  <a:cubicBezTo>
                    <a:pt x="36725" y="130131"/>
                    <a:pt x="39502" y="134554"/>
                    <a:pt x="42485" y="138926"/>
                  </a:cubicBezTo>
                  <a:cubicBezTo>
                    <a:pt x="43463" y="140315"/>
                    <a:pt x="44388" y="141704"/>
                    <a:pt x="45417" y="143093"/>
                  </a:cubicBezTo>
                  <a:cubicBezTo>
                    <a:pt x="50896" y="150870"/>
                    <a:pt x="56821" y="158323"/>
                    <a:pt x="63162" y="165415"/>
                  </a:cubicBezTo>
                  <a:cubicBezTo>
                    <a:pt x="64191" y="166581"/>
                    <a:pt x="65271" y="167764"/>
                    <a:pt x="66403" y="168964"/>
                  </a:cubicBezTo>
                  <a:cubicBezTo>
                    <a:pt x="67226" y="169941"/>
                    <a:pt x="68100" y="170816"/>
                    <a:pt x="68974" y="171742"/>
                  </a:cubicBezTo>
                  <a:lnTo>
                    <a:pt x="73038" y="175857"/>
                  </a:lnTo>
                  <a:lnTo>
                    <a:pt x="77204" y="179868"/>
                  </a:lnTo>
                  <a:lnTo>
                    <a:pt x="80804" y="183314"/>
                  </a:lnTo>
                  <a:cubicBezTo>
                    <a:pt x="84559" y="186761"/>
                    <a:pt x="88468" y="190053"/>
                    <a:pt x="92429" y="193293"/>
                  </a:cubicBezTo>
                  <a:lnTo>
                    <a:pt x="96441" y="196431"/>
                  </a:lnTo>
                  <a:cubicBezTo>
                    <a:pt x="103942" y="202285"/>
                    <a:pt x="111791" y="207679"/>
                    <a:pt x="119946" y="212581"/>
                  </a:cubicBezTo>
                  <a:lnTo>
                    <a:pt x="124833" y="215513"/>
                  </a:lnTo>
                  <a:cubicBezTo>
                    <a:pt x="128433" y="217570"/>
                    <a:pt x="132085" y="219525"/>
                    <a:pt x="135788" y="221479"/>
                  </a:cubicBezTo>
                  <a:lnTo>
                    <a:pt x="140160" y="223588"/>
                  </a:lnTo>
                  <a:cubicBezTo>
                    <a:pt x="161182" y="233776"/>
                    <a:pt x="183537" y="240945"/>
                    <a:pt x="206563" y="244882"/>
                  </a:cubicBezTo>
                  <a:cubicBezTo>
                    <a:pt x="210421" y="245551"/>
                    <a:pt x="214278" y="246117"/>
                    <a:pt x="218239" y="246580"/>
                  </a:cubicBezTo>
                  <a:lnTo>
                    <a:pt x="218239" y="246580"/>
                  </a:lnTo>
                  <a:cubicBezTo>
                    <a:pt x="222251" y="247042"/>
                    <a:pt x="226211" y="247403"/>
                    <a:pt x="230223" y="247711"/>
                  </a:cubicBezTo>
                  <a:lnTo>
                    <a:pt x="236395" y="248071"/>
                  </a:lnTo>
                  <a:cubicBezTo>
                    <a:pt x="240253" y="248071"/>
                    <a:pt x="244110" y="248380"/>
                    <a:pt x="248071" y="248380"/>
                  </a:cubicBezTo>
                  <a:lnTo>
                    <a:pt x="1613773" y="248380"/>
                  </a:lnTo>
                  <a:cubicBezTo>
                    <a:pt x="1617682" y="248380"/>
                    <a:pt x="1621488" y="248380"/>
                    <a:pt x="1625346" y="248071"/>
                  </a:cubicBezTo>
                  <a:lnTo>
                    <a:pt x="1631518" y="247711"/>
                  </a:lnTo>
                  <a:cubicBezTo>
                    <a:pt x="1634759" y="247454"/>
                    <a:pt x="1637999" y="247197"/>
                    <a:pt x="1641240" y="246785"/>
                  </a:cubicBezTo>
                  <a:lnTo>
                    <a:pt x="1643503" y="246785"/>
                  </a:lnTo>
                  <a:lnTo>
                    <a:pt x="1643503" y="246785"/>
                  </a:lnTo>
                  <a:cubicBezTo>
                    <a:pt x="1647412" y="246322"/>
                    <a:pt x="1651321" y="245757"/>
                    <a:pt x="1655127" y="245088"/>
                  </a:cubicBezTo>
                  <a:lnTo>
                    <a:pt x="1661402" y="243956"/>
                  </a:lnTo>
                  <a:lnTo>
                    <a:pt x="1667266" y="242722"/>
                  </a:lnTo>
                  <a:cubicBezTo>
                    <a:pt x="1672872" y="241488"/>
                    <a:pt x="1678376" y="240047"/>
                    <a:pt x="1683776" y="238453"/>
                  </a:cubicBezTo>
                  <a:lnTo>
                    <a:pt x="1688148" y="237116"/>
                  </a:lnTo>
                  <a:cubicBezTo>
                    <a:pt x="1692263" y="235830"/>
                    <a:pt x="1696326" y="234390"/>
                    <a:pt x="1700390" y="232898"/>
                  </a:cubicBezTo>
                  <a:lnTo>
                    <a:pt x="1705533" y="230789"/>
                  </a:lnTo>
                  <a:cubicBezTo>
                    <a:pt x="1707333" y="230120"/>
                    <a:pt x="1709082" y="229400"/>
                    <a:pt x="1710677" y="228577"/>
                  </a:cubicBezTo>
                  <a:cubicBezTo>
                    <a:pt x="1712271" y="227754"/>
                    <a:pt x="1713608" y="227343"/>
                    <a:pt x="1715100" y="226623"/>
                  </a:cubicBezTo>
                  <a:cubicBezTo>
                    <a:pt x="1720655" y="224154"/>
                    <a:pt x="1726107" y="221479"/>
                    <a:pt x="1731456" y="218496"/>
                  </a:cubicBezTo>
                  <a:cubicBezTo>
                    <a:pt x="1733102" y="217622"/>
                    <a:pt x="1734748" y="216747"/>
                    <a:pt x="1736600" y="215770"/>
                  </a:cubicBezTo>
                  <a:cubicBezTo>
                    <a:pt x="1739892" y="213867"/>
                    <a:pt x="1743184" y="211913"/>
                    <a:pt x="1746424" y="209804"/>
                  </a:cubicBezTo>
                  <a:cubicBezTo>
                    <a:pt x="1748001" y="208844"/>
                    <a:pt x="1749596" y="207815"/>
                    <a:pt x="1751207" y="206718"/>
                  </a:cubicBezTo>
                  <a:cubicBezTo>
                    <a:pt x="1755940" y="203529"/>
                    <a:pt x="1760569" y="200185"/>
                    <a:pt x="1765095" y="196688"/>
                  </a:cubicBezTo>
                  <a:lnTo>
                    <a:pt x="1769158" y="193550"/>
                  </a:lnTo>
                  <a:cubicBezTo>
                    <a:pt x="1772244" y="190979"/>
                    <a:pt x="1775279" y="188407"/>
                    <a:pt x="1778262" y="185732"/>
                  </a:cubicBezTo>
                  <a:lnTo>
                    <a:pt x="1782120" y="182234"/>
                  </a:lnTo>
                  <a:cubicBezTo>
                    <a:pt x="1786441" y="178222"/>
                    <a:pt x="1790555" y="174108"/>
                    <a:pt x="1794516" y="169838"/>
                  </a:cubicBezTo>
                  <a:cubicBezTo>
                    <a:pt x="1797139" y="167113"/>
                    <a:pt x="1799659" y="164232"/>
                    <a:pt x="1802128" y="161352"/>
                  </a:cubicBezTo>
                  <a:cubicBezTo>
                    <a:pt x="1803414" y="159912"/>
                    <a:pt x="1804648" y="158420"/>
                    <a:pt x="1805832" y="156929"/>
                  </a:cubicBezTo>
                  <a:cubicBezTo>
                    <a:pt x="1807015" y="155437"/>
                    <a:pt x="1808249" y="153997"/>
                    <a:pt x="1809381" y="152505"/>
                  </a:cubicBezTo>
                  <a:cubicBezTo>
                    <a:pt x="1810512" y="151013"/>
                    <a:pt x="1811695" y="149470"/>
                    <a:pt x="1812775" y="147927"/>
                  </a:cubicBezTo>
                  <a:cubicBezTo>
                    <a:pt x="1813855" y="146384"/>
                    <a:pt x="1815038" y="144944"/>
                    <a:pt x="1816119" y="143350"/>
                  </a:cubicBezTo>
                  <a:cubicBezTo>
                    <a:pt x="1817199" y="141755"/>
                    <a:pt x="1818073" y="140572"/>
                    <a:pt x="1819050" y="139183"/>
                  </a:cubicBezTo>
                  <a:cubicBezTo>
                    <a:pt x="1822033" y="134760"/>
                    <a:pt x="1824862" y="130285"/>
                    <a:pt x="1827537" y="125707"/>
                  </a:cubicBezTo>
                  <a:cubicBezTo>
                    <a:pt x="1828514" y="124062"/>
                    <a:pt x="1829440" y="122416"/>
                    <a:pt x="1830366" y="120564"/>
                  </a:cubicBezTo>
                  <a:cubicBezTo>
                    <a:pt x="1831292" y="118712"/>
                    <a:pt x="1832115" y="117426"/>
                    <a:pt x="1832938" y="115832"/>
                  </a:cubicBezTo>
                  <a:cubicBezTo>
                    <a:pt x="1833761" y="114237"/>
                    <a:pt x="1835355" y="111100"/>
                    <a:pt x="1836538" y="108682"/>
                  </a:cubicBezTo>
                  <a:cubicBezTo>
                    <a:pt x="1837721" y="106265"/>
                    <a:pt x="1838287" y="105185"/>
                    <a:pt x="1839007" y="103539"/>
                  </a:cubicBezTo>
                  <a:cubicBezTo>
                    <a:pt x="1840807" y="99630"/>
                    <a:pt x="1842556" y="95618"/>
                    <a:pt x="1844150" y="91606"/>
                  </a:cubicBezTo>
                  <a:cubicBezTo>
                    <a:pt x="1844716" y="90269"/>
                    <a:pt x="1845231" y="88931"/>
                    <a:pt x="1845694" y="87542"/>
                  </a:cubicBezTo>
                  <a:cubicBezTo>
                    <a:pt x="1846156" y="86154"/>
                    <a:pt x="1847082" y="83942"/>
                    <a:pt x="1847699" y="82090"/>
                  </a:cubicBezTo>
                  <a:cubicBezTo>
                    <a:pt x="1848317" y="80239"/>
                    <a:pt x="1848985" y="78439"/>
                    <a:pt x="1849551" y="76587"/>
                  </a:cubicBezTo>
                  <a:cubicBezTo>
                    <a:pt x="1857686" y="51869"/>
                    <a:pt x="1861870" y="26022"/>
                    <a:pt x="1861947" y="0"/>
                  </a:cubicBezTo>
                  <a:close/>
                </a:path>
              </a:pathLst>
            </a:custGeom>
            <a:gradFill>
              <a:gsLst>
                <a:gs pos="0">
                  <a:srgbClr val="959595"/>
                </a:gs>
                <a:gs pos="50000">
                  <a:srgbClr val="4A4A4A"/>
                </a:gs>
                <a:gs pos="100000">
                  <a:srgbClr val="000000"/>
                </a:gs>
              </a:gsLst>
              <a:lin ang="16200000" scaled="1"/>
            </a:gradFill>
            <a:ln w="5144" cap="flat">
              <a:noFill/>
              <a:prstDash val="solid"/>
              <a:miter/>
            </a:ln>
          </p:spPr>
          <p:txBody>
            <a:bodyPr rtlCol="0" anchor="ctr"/>
            <a:lstStyle/>
            <a:p>
              <a:endParaRPr lang="de-DE" sz="3333"/>
            </a:p>
          </p:txBody>
        </p:sp>
        <p:sp>
          <p:nvSpPr>
            <p:cNvPr id="48" name="Freeform 47">
              <a:extLst>
                <a:ext uri="{FF2B5EF4-FFF2-40B4-BE49-F238E27FC236}">
                  <a16:creationId xmlns:a16="http://schemas.microsoft.com/office/drawing/2014/main" id="{286056B8-DA16-C069-644C-860ABBD0D530}"/>
                </a:ext>
              </a:extLst>
            </p:cNvPr>
            <p:cNvSpPr/>
            <p:nvPr/>
          </p:nvSpPr>
          <p:spPr>
            <a:xfrm>
              <a:off x="3641129" y="686554"/>
              <a:ext cx="1861844" cy="271371"/>
            </a:xfrm>
            <a:custGeom>
              <a:avLst/>
              <a:gdLst>
                <a:gd name="connsiteX0" fmla="*/ 1861844 w 1861844"/>
                <a:gd name="connsiteY0" fmla="*/ 247660 h 271371"/>
                <a:gd name="connsiteX1" fmla="*/ 1861844 w 1861844"/>
                <a:gd name="connsiteY1" fmla="*/ 271320 h 271371"/>
                <a:gd name="connsiteX2" fmla="*/ 1637485 w 1861844"/>
                <a:gd name="connsiteY2" fmla="*/ 24432 h 271371"/>
                <a:gd name="connsiteX3" fmla="*/ 1631467 w 1861844"/>
                <a:gd name="connsiteY3" fmla="*/ 23917 h 271371"/>
                <a:gd name="connsiteX4" fmla="*/ 1625295 w 1861844"/>
                <a:gd name="connsiteY4" fmla="*/ 23557 h 271371"/>
                <a:gd name="connsiteX5" fmla="*/ 1625295 w 1861844"/>
                <a:gd name="connsiteY5" fmla="*/ 23557 h 271371"/>
                <a:gd name="connsiteX6" fmla="*/ 1613773 w 1861844"/>
                <a:gd name="connsiteY6" fmla="*/ 23249 h 271371"/>
                <a:gd name="connsiteX7" fmla="*/ 248123 w 1861844"/>
                <a:gd name="connsiteY7" fmla="*/ 23249 h 271371"/>
                <a:gd name="connsiteX8" fmla="*/ 236601 w 1861844"/>
                <a:gd name="connsiteY8" fmla="*/ 23557 h 271371"/>
                <a:gd name="connsiteX9" fmla="*/ 236601 w 1861844"/>
                <a:gd name="connsiteY9" fmla="*/ 23557 h 271371"/>
                <a:gd name="connsiteX10" fmla="*/ 0 w 1861844"/>
                <a:gd name="connsiteY10" fmla="*/ 271371 h 271371"/>
                <a:gd name="connsiteX11" fmla="*/ 0 w 1861844"/>
                <a:gd name="connsiteY11" fmla="*/ 247711 h 271371"/>
                <a:gd name="connsiteX12" fmla="*/ 0 w 1861844"/>
                <a:gd name="connsiteY12" fmla="*/ 240407 h 271371"/>
                <a:gd name="connsiteX13" fmla="*/ 0 w 1861844"/>
                <a:gd name="connsiteY13" fmla="*/ 234955 h 271371"/>
                <a:gd name="connsiteX14" fmla="*/ 874 w 1861844"/>
                <a:gd name="connsiteY14" fmla="*/ 223074 h 271371"/>
                <a:gd name="connsiteX15" fmla="*/ 1543 w 1861844"/>
                <a:gd name="connsiteY15" fmla="*/ 217056 h 271371"/>
                <a:gd name="connsiteX16" fmla="*/ 1955 w 1861844"/>
                <a:gd name="connsiteY16" fmla="*/ 213815 h 271371"/>
                <a:gd name="connsiteX17" fmla="*/ 2520 w 1861844"/>
                <a:gd name="connsiteY17" fmla="*/ 209906 h 271371"/>
                <a:gd name="connsiteX18" fmla="*/ 3549 w 1861844"/>
                <a:gd name="connsiteY18" fmla="*/ 203837 h 271371"/>
                <a:gd name="connsiteX19" fmla="*/ 5658 w 1861844"/>
                <a:gd name="connsiteY19" fmla="*/ 193550 h 271371"/>
                <a:gd name="connsiteX20" fmla="*/ 6892 w 1861844"/>
                <a:gd name="connsiteY20" fmla="*/ 188406 h 271371"/>
                <a:gd name="connsiteX21" fmla="*/ 11161 w 1861844"/>
                <a:gd name="connsiteY21" fmla="*/ 172976 h 271371"/>
                <a:gd name="connsiteX22" fmla="*/ 12704 w 1861844"/>
                <a:gd name="connsiteY22" fmla="*/ 168244 h 271371"/>
                <a:gd name="connsiteX23" fmla="*/ 14762 w 1861844"/>
                <a:gd name="connsiteY23" fmla="*/ 162483 h 271371"/>
                <a:gd name="connsiteX24" fmla="*/ 16562 w 1861844"/>
                <a:gd name="connsiteY24" fmla="*/ 157700 h 271371"/>
                <a:gd name="connsiteX25" fmla="*/ 18105 w 1861844"/>
                <a:gd name="connsiteY25" fmla="*/ 153842 h 271371"/>
                <a:gd name="connsiteX26" fmla="*/ 20060 w 1861844"/>
                <a:gd name="connsiteY26" fmla="*/ 149213 h 271371"/>
                <a:gd name="connsiteX27" fmla="*/ 21654 w 1861844"/>
                <a:gd name="connsiteY27" fmla="*/ 145715 h 271371"/>
                <a:gd name="connsiteX28" fmla="*/ 24020 w 1861844"/>
                <a:gd name="connsiteY28" fmla="*/ 140572 h 271371"/>
                <a:gd name="connsiteX29" fmla="*/ 28392 w 1861844"/>
                <a:gd name="connsiteY29" fmla="*/ 131828 h 271371"/>
                <a:gd name="connsiteX30" fmla="*/ 30810 w 1861844"/>
                <a:gd name="connsiteY30" fmla="*/ 127405 h 271371"/>
                <a:gd name="connsiteX31" fmla="*/ 33690 w 1861844"/>
                <a:gd name="connsiteY31" fmla="*/ 122261 h 271371"/>
                <a:gd name="connsiteX32" fmla="*/ 57042 w 1861844"/>
                <a:gd name="connsiteY32" fmla="*/ 89085 h 271371"/>
                <a:gd name="connsiteX33" fmla="*/ 60796 w 1861844"/>
                <a:gd name="connsiteY33" fmla="*/ 84662 h 271371"/>
                <a:gd name="connsiteX34" fmla="*/ 65168 w 1861844"/>
                <a:gd name="connsiteY34" fmla="*/ 79776 h 271371"/>
                <a:gd name="connsiteX35" fmla="*/ 72678 w 1861844"/>
                <a:gd name="connsiteY35" fmla="*/ 72009 h 271371"/>
                <a:gd name="connsiteX36" fmla="*/ 81062 w 1861844"/>
                <a:gd name="connsiteY36" fmla="*/ 63985 h 271371"/>
                <a:gd name="connsiteX37" fmla="*/ 89806 w 1861844"/>
                <a:gd name="connsiteY37" fmla="*/ 56424 h 271371"/>
                <a:gd name="connsiteX38" fmla="*/ 94280 w 1861844"/>
                <a:gd name="connsiteY38" fmla="*/ 52772 h 271371"/>
                <a:gd name="connsiteX39" fmla="*/ 103590 w 1861844"/>
                <a:gd name="connsiteY39" fmla="*/ 45829 h 271371"/>
                <a:gd name="connsiteX40" fmla="*/ 113157 w 1861844"/>
                <a:gd name="connsiteY40" fmla="*/ 39296 h 271371"/>
                <a:gd name="connsiteX41" fmla="*/ 123084 w 1861844"/>
                <a:gd name="connsiteY41" fmla="*/ 33227 h 271371"/>
                <a:gd name="connsiteX42" fmla="*/ 128228 w 1861844"/>
                <a:gd name="connsiteY42" fmla="*/ 30347 h 271371"/>
                <a:gd name="connsiteX43" fmla="*/ 133371 w 1861844"/>
                <a:gd name="connsiteY43" fmla="*/ 27569 h 271371"/>
                <a:gd name="connsiteX44" fmla="*/ 138515 w 1861844"/>
                <a:gd name="connsiteY44" fmla="*/ 24946 h 271371"/>
                <a:gd name="connsiteX45" fmla="*/ 143658 w 1861844"/>
                <a:gd name="connsiteY45" fmla="*/ 22374 h 271371"/>
                <a:gd name="connsiteX46" fmla="*/ 154408 w 1861844"/>
                <a:gd name="connsiteY46" fmla="*/ 17745 h 271371"/>
                <a:gd name="connsiteX47" fmla="*/ 159551 w 1861844"/>
                <a:gd name="connsiteY47" fmla="*/ 15636 h 271371"/>
                <a:gd name="connsiteX48" fmla="*/ 160066 w 1861844"/>
                <a:gd name="connsiteY48" fmla="*/ 15636 h 271371"/>
                <a:gd name="connsiteX49" fmla="*/ 165209 w 1861844"/>
                <a:gd name="connsiteY49" fmla="*/ 13733 h 271371"/>
                <a:gd name="connsiteX50" fmla="*/ 170353 w 1861844"/>
                <a:gd name="connsiteY50" fmla="*/ 11933 h 271371"/>
                <a:gd name="connsiteX51" fmla="*/ 176371 w 1861844"/>
                <a:gd name="connsiteY51" fmla="*/ 10081 h 271371"/>
                <a:gd name="connsiteX52" fmla="*/ 182080 w 1861844"/>
                <a:gd name="connsiteY52" fmla="*/ 8435 h 271371"/>
                <a:gd name="connsiteX53" fmla="*/ 187841 w 1861844"/>
                <a:gd name="connsiteY53" fmla="*/ 6944 h 271371"/>
                <a:gd name="connsiteX54" fmla="*/ 193653 w 1861844"/>
                <a:gd name="connsiteY54" fmla="*/ 5555 h 271371"/>
                <a:gd name="connsiteX55" fmla="*/ 205483 w 1861844"/>
                <a:gd name="connsiteY55" fmla="*/ 3240 h 271371"/>
                <a:gd name="connsiteX56" fmla="*/ 211449 w 1861844"/>
                <a:gd name="connsiteY56" fmla="*/ 2315 h 271371"/>
                <a:gd name="connsiteX57" fmla="*/ 224308 w 1861844"/>
                <a:gd name="connsiteY57" fmla="*/ 772 h 271371"/>
                <a:gd name="connsiteX58" fmla="*/ 234595 w 1861844"/>
                <a:gd name="connsiteY58" fmla="*/ 0 h 271371"/>
                <a:gd name="connsiteX59" fmla="*/ 240922 w 1861844"/>
                <a:gd name="connsiteY59" fmla="*/ 0 h 271371"/>
                <a:gd name="connsiteX60" fmla="*/ 247351 w 1861844"/>
                <a:gd name="connsiteY60" fmla="*/ 0 h 271371"/>
                <a:gd name="connsiteX61" fmla="*/ 1613670 w 1861844"/>
                <a:gd name="connsiteY61" fmla="*/ 0 h 271371"/>
                <a:gd name="connsiteX62" fmla="*/ 1620100 w 1861844"/>
                <a:gd name="connsiteY62" fmla="*/ 0 h 271371"/>
                <a:gd name="connsiteX63" fmla="*/ 1625243 w 1861844"/>
                <a:gd name="connsiteY63" fmla="*/ 0 h 271371"/>
                <a:gd name="connsiteX64" fmla="*/ 1637228 w 1861844"/>
                <a:gd name="connsiteY64" fmla="*/ 874 h 271371"/>
                <a:gd name="connsiteX65" fmla="*/ 1637228 w 1861844"/>
                <a:gd name="connsiteY65" fmla="*/ 874 h 271371"/>
                <a:gd name="connsiteX66" fmla="*/ 1643245 w 1861844"/>
                <a:gd name="connsiteY66" fmla="*/ 1543 h 271371"/>
                <a:gd name="connsiteX67" fmla="*/ 1649263 w 1861844"/>
                <a:gd name="connsiteY67" fmla="*/ 2366 h 271371"/>
                <a:gd name="connsiteX68" fmla="*/ 1655230 w 1861844"/>
                <a:gd name="connsiteY68" fmla="*/ 3292 h 271371"/>
                <a:gd name="connsiteX69" fmla="*/ 1661093 w 1861844"/>
                <a:gd name="connsiteY69" fmla="*/ 4372 h 271371"/>
                <a:gd name="connsiteX70" fmla="*/ 1661093 w 1861844"/>
                <a:gd name="connsiteY70" fmla="*/ 4372 h 271371"/>
                <a:gd name="connsiteX71" fmla="*/ 1666905 w 1861844"/>
                <a:gd name="connsiteY71" fmla="*/ 5606 h 271371"/>
                <a:gd name="connsiteX72" fmla="*/ 1672049 w 1861844"/>
                <a:gd name="connsiteY72" fmla="*/ 6789 h 271371"/>
                <a:gd name="connsiteX73" fmla="*/ 1673181 w 1861844"/>
                <a:gd name="connsiteY73" fmla="*/ 7098 h 271371"/>
                <a:gd name="connsiteX74" fmla="*/ 1678324 w 1861844"/>
                <a:gd name="connsiteY74" fmla="*/ 8384 h 271371"/>
                <a:gd name="connsiteX75" fmla="*/ 1685216 w 1861844"/>
                <a:gd name="connsiteY75" fmla="*/ 10390 h 271371"/>
                <a:gd name="connsiteX76" fmla="*/ 1689897 w 1861844"/>
                <a:gd name="connsiteY76" fmla="*/ 11881 h 271371"/>
                <a:gd name="connsiteX77" fmla="*/ 1700184 w 1861844"/>
                <a:gd name="connsiteY77" fmla="*/ 15482 h 271371"/>
                <a:gd name="connsiteX78" fmla="*/ 1707025 w 1861844"/>
                <a:gd name="connsiteY78" fmla="*/ 18105 h 271371"/>
                <a:gd name="connsiteX79" fmla="*/ 1712169 w 1861844"/>
                <a:gd name="connsiteY79" fmla="*/ 20214 h 271371"/>
                <a:gd name="connsiteX80" fmla="*/ 1717312 w 1861844"/>
                <a:gd name="connsiteY80" fmla="*/ 22631 h 271371"/>
                <a:gd name="connsiteX81" fmla="*/ 1722456 w 1861844"/>
                <a:gd name="connsiteY81" fmla="*/ 25152 h 271371"/>
                <a:gd name="connsiteX82" fmla="*/ 1757997 w 1861844"/>
                <a:gd name="connsiteY82" fmla="*/ 46497 h 271371"/>
                <a:gd name="connsiteX83" fmla="*/ 1762060 w 1861844"/>
                <a:gd name="connsiteY83" fmla="*/ 49481 h 271371"/>
                <a:gd name="connsiteX84" fmla="*/ 1776308 w 1861844"/>
                <a:gd name="connsiteY84" fmla="*/ 61053 h 271371"/>
                <a:gd name="connsiteX85" fmla="*/ 1782326 w 1861844"/>
                <a:gd name="connsiteY85" fmla="*/ 66454 h 271371"/>
                <a:gd name="connsiteX86" fmla="*/ 1805266 w 1861844"/>
                <a:gd name="connsiteY86" fmla="*/ 90114 h 271371"/>
                <a:gd name="connsiteX87" fmla="*/ 1808918 w 1861844"/>
                <a:gd name="connsiteY87" fmla="*/ 94640 h 271371"/>
                <a:gd name="connsiteX88" fmla="*/ 1816067 w 1861844"/>
                <a:gd name="connsiteY88" fmla="*/ 104207 h 271371"/>
                <a:gd name="connsiteX89" fmla="*/ 1819513 w 1861844"/>
                <a:gd name="connsiteY89" fmla="*/ 109094 h 271371"/>
                <a:gd name="connsiteX90" fmla="*/ 1825068 w 1861844"/>
                <a:gd name="connsiteY90" fmla="*/ 117683 h 271371"/>
                <a:gd name="connsiteX91" fmla="*/ 1827743 w 1861844"/>
                <a:gd name="connsiteY91" fmla="*/ 122107 h 271371"/>
                <a:gd name="connsiteX92" fmla="*/ 1832475 w 1861844"/>
                <a:gd name="connsiteY92" fmla="*/ 130593 h 271371"/>
                <a:gd name="connsiteX93" fmla="*/ 1834635 w 1861844"/>
                <a:gd name="connsiteY93" fmla="*/ 134760 h 271371"/>
                <a:gd name="connsiteX94" fmla="*/ 1841630 w 1861844"/>
                <a:gd name="connsiteY94" fmla="*/ 149316 h 271371"/>
                <a:gd name="connsiteX95" fmla="*/ 1843225 w 1861844"/>
                <a:gd name="connsiteY95" fmla="*/ 153225 h 271371"/>
                <a:gd name="connsiteX96" fmla="*/ 1848883 w 1861844"/>
                <a:gd name="connsiteY96" fmla="*/ 168244 h 271371"/>
                <a:gd name="connsiteX97" fmla="*/ 1850734 w 1861844"/>
                <a:gd name="connsiteY97" fmla="*/ 173902 h 271371"/>
                <a:gd name="connsiteX98" fmla="*/ 1858655 w 1861844"/>
                <a:gd name="connsiteY98" fmla="*/ 207386 h 271371"/>
                <a:gd name="connsiteX99" fmla="*/ 1859221 w 1861844"/>
                <a:gd name="connsiteY99" fmla="*/ 211089 h 271371"/>
                <a:gd name="connsiteX100" fmla="*/ 1860044 w 1861844"/>
                <a:gd name="connsiteY100" fmla="*/ 217056 h 271371"/>
                <a:gd name="connsiteX101" fmla="*/ 1860713 w 1861844"/>
                <a:gd name="connsiteY101" fmla="*/ 223125 h 271371"/>
                <a:gd name="connsiteX102" fmla="*/ 1861279 w 1861844"/>
                <a:gd name="connsiteY102" fmla="*/ 229194 h 271371"/>
                <a:gd name="connsiteX103" fmla="*/ 1861793 w 1861844"/>
                <a:gd name="connsiteY103" fmla="*/ 240510 h 271371"/>
                <a:gd name="connsiteX104" fmla="*/ 1861844 w 1861844"/>
                <a:gd name="connsiteY104" fmla="*/ 247660 h 27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861844" h="271371">
                  <a:moveTo>
                    <a:pt x="1861844" y="247660"/>
                  </a:moveTo>
                  <a:lnTo>
                    <a:pt x="1861844" y="271320"/>
                  </a:lnTo>
                  <a:cubicBezTo>
                    <a:pt x="1861652" y="143582"/>
                    <a:pt x="1764622" y="36809"/>
                    <a:pt x="1637485" y="24432"/>
                  </a:cubicBezTo>
                  <a:lnTo>
                    <a:pt x="1631467" y="23917"/>
                  </a:lnTo>
                  <a:lnTo>
                    <a:pt x="1625295" y="23557"/>
                  </a:lnTo>
                  <a:lnTo>
                    <a:pt x="1625295" y="23557"/>
                  </a:lnTo>
                  <a:cubicBezTo>
                    <a:pt x="1621437" y="23557"/>
                    <a:pt x="1617682" y="23249"/>
                    <a:pt x="1613773" y="23249"/>
                  </a:cubicBezTo>
                  <a:lnTo>
                    <a:pt x="248123" y="23249"/>
                  </a:lnTo>
                  <a:cubicBezTo>
                    <a:pt x="244213" y="23249"/>
                    <a:pt x="240407" y="23249"/>
                    <a:pt x="236601" y="23557"/>
                  </a:cubicBezTo>
                  <a:lnTo>
                    <a:pt x="236601" y="23557"/>
                  </a:lnTo>
                  <a:cubicBezTo>
                    <a:pt x="104275" y="29866"/>
                    <a:pt x="179" y="138895"/>
                    <a:pt x="0" y="271371"/>
                  </a:cubicBezTo>
                  <a:lnTo>
                    <a:pt x="0" y="247711"/>
                  </a:lnTo>
                  <a:cubicBezTo>
                    <a:pt x="0" y="245242"/>
                    <a:pt x="0" y="242825"/>
                    <a:pt x="0" y="240407"/>
                  </a:cubicBezTo>
                  <a:cubicBezTo>
                    <a:pt x="0" y="237990"/>
                    <a:pt x="0" y="236755"/>
                    <a:pt x="0" y="234955"/>
                  </a:cubicBezTo>
                  <a:cubicBezTo>
                    <a:pt x="0" y="230943"/>
                    <a:pt x="463" y="227034"/>
                    <a:pt x="874" y="223074"/>
                  </a:cubicBezTo>
                  <a:cubicBezTo>
                    <a:pt x="874" y="221068"/>
                    <a:pt x="1286" y="219010"/>
                    <a:pt x="1543" y="217056"/>
                  </a:cubicBezTo>
                  <a:cubicBezTo>
                    <a:pt x="1543" y="215924"/>
                    <a:pt x="1852" y="214895"/>
                    <a:pt x="1955" y="213815"/>
                  </a:cubicBezTo>
                  <a:cubicBezTo>
                    <a:pt x="2058" y="212735"/>
                    <a:pt x="2315" y="211244"/>
                    <a:pt x="2520" y="209906"/>
                  </a:cubicBezTo>
                  <a:cubicBezTo>
                    <a:pt x="2726" y="208569"/>
                    <a:pt x="3138" y="205843"/>
                    <a:pt x="3549" y="203837"/>
                  </a:cubicBezTo>
                  <a:cubicBezTo>
                    <a:pt x="4166" y="200288"/>
                    <a:pt x="4835" y="196739"/>
                    <a:pt x="5658" y="193550"/>
                  </a:cubicBezTo>
                  <a:cubicBezTo>
                    <a:pt x="6018" y="191801"/>
                    <a:pt x="6481" y="190104"/>
                    <a:pt x="6892" y="188406"/>
                  </a:cubicBezTo>
                  <a:cubicBezTo>
                    <a:pt x="8127" y="183263"/>
                    <a:pt x="9567" y="178119"/>
                    <a:pt x="11161" y="172976"/>
                  </a:cubicBezTo>
                  <a:lnTo>
                    <a:pt x="12704" y="168244"/>
                  </a:lnTo>
                  <a:cubicBezTo>
                    <a:pt x="13373" y="166289"/>
                    <a:pt x="14042" y="164335"/>
                    <a:pt x="14762" y="162483"/>
                  </a:cubicBezTo>
                  <a:cubicBezTo>
                    <a:pt x="15482" y="160632"/>
                    <a:pt x="15945" y="159294"/>
                    <a:pt x="16562" y="157700"/>
                  </a:cubicBezTo>
                  <a:cubicBezTo>
                    <a:pt x="17179" y="156105"/>
                    <a:pt x="17539" y="155128"/>
                    <a:pt x="18105" y="153842"/>
                  </a:cubicBezTo>
                  <a:cubicBezTo>
                    <a:pt x="18671" y="152556"/>
                    <a:pt x="19391" y="150705"/>
                    <a:pt x="20060" y="149213"/>
                  </a:cubicBezTo>
                  <a:cubicBezTo>
                    <a:pt x="20728" y="147721"/>
                    <a:pt x="21037" y="146898"/>
                    <a:pt x="21654" y="145715"/>
                  </a:cubicBezTo>
                  <a:cubicBezTo>
                    <a:pt x="22271" y="144532"/>
                    <a:pt x="23146" y="142372"/>
                    <a:pt x="24020" y="140572"/>
                  </a:cubicBezTo>
                  <a:cubicBezTo>
                    <a:pt x="25358" y="137640"/>
                    <a:pt x="26849" y="134708"/>
                    <a:pt x="28392" y="131828"/>
                  </a:cubicBezTo>
                  <a:cubicBezTo>
                    <a:pt x="29164" y="130336"/>
                    <a:pt x="29987" y="128845"/>
                    <a:pt x="30810" y="127405"/>
                  </a:cubicBezTo>
                  <a:cubicBezTo>
                    <a:pt x="31633" y="125964"/>
                    <a:pt x="32713" y="124010"/>
                    <a:pt x="33690" y="122261"/>
                  </a:cubicBezTo>
                  <a:cubicBezTo>
                    <a:pt x="40574" y="110596"/>
                    <a:pt x="48383" y="99502"/>
                    <a:pt x="57042" y="89085"/>
                  </a:cubicBezTo>
                  <a:lnTo>
                    <a:pt x="60796" y="84662"/>
                  </a:lnTo>
                  <a:cubicBezTo>
                    <a:pt x="62236" y="83068"/>
                    <a:pt x="63677" y="81370"/>
                    <a:pt x="65168" y="79776"/>
                  </a:cubicBezTo>
                  <a:cubicBezTo>
                    <a:pt x="67637" y="77153"/>
                    <a:pt x="70312" y="74632"/>
                    <a:pt x="72678" y="72009"/>
                  </a:cubicBezTo>
                  <a:cubicBezTo>
                    <a:pt x="75044" y="69386"/>
                    <a:pt x="78181" y="66608"/>
                    <a:pt x="81062" y="63985"/>
                  </a:cubicBezTo>
                  <a:cubicBezTo>
                    <a:pt x="83942" y="61362"/>
                    <a:pt x="86822" y="58842"/>
                    <a:pt x="89806" y="56424"/>
                  </a:cubicBezTo>
                  <a:cubicBezTo>
                    <a:pt x="91246" y="55190"/>
                    <a:pt x="92789" y="54007"/>
                    <a:pt x="94280" y="52772"/>
                  </a:cubicBezTo>
                  <a:cubicBezTo>
                    <a:pt x="97315" y="50406"/>
                    <a:pt x="100401" y="48092"/>
                    <a:pt x="103590" y="45829"/>
                  </a:cubicBezTo>
                  <a:cubicBezTo>
                    <a:pt x="106779" y="43565"/>
                    <a:pt x="109865" y="41405"/>
                    <a:pt x="113157" y="39296"/>
                  </a:cubicBezTo>
                  <a:cubicBezTo>
                    <a:pt x="116449" y="37188"/>
                    <a:pt x="119689" y="35130"/>
                    <a:pt x="123084" y="33227"/>
                  </a:cubicBezTo>
                  <a:cubicBezTo>
                    <a:pt x="124730" y="32198"/>
                    <a:pt x="126427" y="31272"/>
                    <a:pt x="128228" y="30347"/>
                  </a:cubicBezTo>
                  <a:cubicBezTo>
                    <a:pt x="130028" y="29421"/>
                    <a:pt x="131622" y="28495"/>
                    <a:pt x="133371" y="27569"/>
                  </a:cubicBezTo>
                  <a:cubicBezTo>
                    <a:pt x="135120" y="26643"/>
                    <a:pt x="136817" y="25769"/>
                    <a:pt x="138515" y="24946"/>
                  </a:cubicBezTo>
                  <a:lnTo>
                    <a:pt x="143658" y="22374"/>
                  </a:lnTo>
                  <a:cubicBezTo>
                    <a:pt x="147156" y="20728"/>
                    <a:pt x="150756" y="19185"/>
                    <a:pt x="154408" y="17745"/>
                  </a:cubicBezTo>
                  <a:lnTo>
                    <a:pt x="159551" y="15636"/>
                  </a:lnTo>
                  <a:lnTo>
                    <a:pt x="160066" y="15636"/>
                  </a:lnTo>
                  <a:lnTo>
                    <a:pt x="165209" y="13733"/>
                  </a:lnTo>
                  <a:lnTo>
                    <a:pt x="170353" y="11933"/>
                  </a:lnTo>
                  <a:cubicBezTo>
                    <a:pt x="172359" y="11316"/>
                    <a:pt x="174313" y="10647"/>
                    <a:pt x="176371" y="10081"/>
                  </a:cubicBezTo>
                  <a:lnTo>
                    <a:pt x="182080" y="8435"/>
                  </a:lnTo>
                  <a:lnTo>
                    <a:pt x="187841" y="6944"/>
                  </a:lnTo>
                  <a:cubicBezTo>
                    <a:pt x="189795" y="6481"/>
                    <a:pt x="191698" y="5966"/>
                    <a:pt x="193653" y="5555"/>
                  </a:cubicBezTo>
                  <a:cubicBezTo>
                    <a:pt x="197613" y="4681"/>
                    <a:pt x="201522" y="3909"/>
                    <a:pt x="205483" y="3240"/>
                  </a:cubicBezTo>
                  <a:cubicBezTo>
                    <a:pt x="207437" y="2932"/>
                    <a:pt x="209443" y="2572"/>
                    <a:pt x="211449" y="2315"/>
                  </a:cubicBezTo>
                  <a:cubicBezTo>
                    <a:pt x="215667" y="1697"/>
                    <a:pt x="219988" y="1132"/>
                    <a:pt x="224308" y="772"/>
                  </a:cubicBezTo>
                  <a:cubicBezTo>
                    <a:pt x="227703" y="463"/>
                    <a:pt x="231200" y="206"/>
                    <a:pt x="234595" y="0"/>
                  </a:cubicBezTo>
                  <a:lnTo>
                    <a:pt x="240922" y="0"/>
                  </a:lnTo>
                  <a:lnTo>
                    <a:pt x="247351" y="0"/>
                  </a:lnTo>
                  <a:lnTo>
                    <a:pt x="1613670" y="0"/>
                  </a:lnTo>
                  <a:lnTo>
                    <a:pt x="1620100" y="0"/>
                  </a:lnTo>
                  <a:lnTo>
                    <a:pt x="1625243" y="0"/>
                  </a:lnTo>
                  <a:cubicBezTo>
                    <a:pt x="1629255" y="0"/>
                    <a:pt x="1633216" y="514"/>
                    <a:pt x="1637228" y="874"/>
                  </a:cubicBezTo>
                  <a:lnTo>
                    <a:pt x="1637228" y="874"/>
                  </a:lnTo>
                  <a:lnTo>
                    <a:pt x="1643245" y="1543"/>
                  </a:lnTo>
                  <a:lnTo>
                    <a:pt x="1649263" y="2366"/>
                  </a:lnTo>
                  <a:lnTo>
                    <a:pt x="1655230" y="3292"/>
                  </a:lnTo>
                  <a:cubicBezTo>
                    <a:pt x="1657184" y="3600"/>
                    <a:pt x="1659139" y="4012"/>
                    <a:pt x="1661093" y="4372"/>
                  </a:cubicBezTo>
                  <a:lnTo>
                    <a:pt x="1661093" y="4372"/>
                  </a:lnTo>
                  <a:lnTo>
                    <a:pt x="1666905" y="5606"/>
                  </a:lnTo>
                  <a:lnTo>
                    <a:pt x="1672049" y="6789"/>
                  </a:lnTo>
                  <a:lnTo>
                    <a:pt x="1673181" y="7098"/>
                  </a:lnTo>
                  <a:lnTo>
                    <a:pt x="1678324" y="8384"/>
                  </a:lnTo>
                  <a:cubicBezTo>
                    <a:pt x="1680639" y="9001"/>
                    <a:pt x="1682953" y="9670"/>
                    <a:pt x="1685216" y="10390"/>
                  </a:cubicBezTo>
                  <a:lnTo>
                    <a:pt x="1689897" y="11881"/>
                  </a:lnTo>
                  <a:cubicBezTo>
                    <a:pt x="1693343" y="13013"/>
                    <a:pt x="1696738" y="14196"/>
                    <a:pt x="1700184" y="15482"/>
                  </a:cubicBezTo>
                  <a:cubicBezTo>
                    <a:pt x="1702550" y="16253"/>
                    <a:pt x="1704813" y="17179"/>
                    <a:pt x="1707025" y="18105"/>
                  </a:cubicBezTo>
                  <a:lnTo>
                    <a:pt x="1712169" y="20214"/>
                  </a:lnTo>
                  <a:cubicBezTo>
                    <a:pt x="1713969" y="20985"/>
                    <a:pt x="1715718" y="21757"/>
                    <a:pt x="1717312" y="22631"/>
                  </a:cubicBezTo>
                  <a:cubicBezTo>
                    <a:pt x="1718906" y="23506"/>
                    <a:pt x="1720810" y="24277"/>
                    <a:pt x="1722456" y="25152"/>
                  </a:cubicBezTo>
                  <a:cubicBezTo>
                    <a:pt x="1734911" y="31202"/>
                    <a:pt x="1746805" y="38345"/>
                    <a:pt x="1757997" y="46497"/>
                  </a:cubicBezTo>
                  <a:cubicBezTo>
                    <a:pt x="1759386" y="47423"/>
                    <a:pt x="1760723" y="48452"/>
                    <a:pt x="1762060" y="49481"/>
                  </a:cubicBezTo>
                  <a:cubicBezTo>
                    <a:pt x="1767204" y="53184"/>
                    <a:pt x="1771730" y="56990"/>
                    <a:pt x="1776308" y="61053"/>
                  </a:cubicBezTo>
                  <a:cubicBezTo>
                    <a:pt x="1778365" y="62802"/>
                    <a:pt x="1780371" y="64602"/>
                    <a:pt x="1782326" y="66454"/>
                  </a:cubicBezTo>
                  <a:cubicBezTo>
                    <a:pt x="1790511" y="73800"/>
                    <a:pt x="1798176" y="81706"/>
                    <a:pt x="1805266" y="90114"/>
                  </a:cubicBezTo>
                  <a:cubicBezTo>
                    <a:pt x="1806552" y="91657"/>
                    <a:pt x="1807735" y="93097"/>
                    <a:pt x="1808918" y="94640"/>
                  </a:cubicBezTo>
                  <a:cubicBezTo>
                    <a:pt x="1811438" y="97778"/>
                    <a:pt x="1814061" y="100967"/>
                    <a:pt x="1816067" y="104207"/>
                  </a:cubicBezTo>
                  <a:cubicBezTo>
                    <a:pt x="1817250" y="105802"/>
                    <a:pt x="1818382" y="107448"/>
                    <a:pt x="1819513" y="109094"/>
                  </a:cubicBezTo>
                  <a:cubicBezTo>
                    <a:pt x="1821416" y="111923"/>
                    <a:pt x="1823268" y="114803"/>
                    <a:pt x="1825068" y="117683"/>
                  </a:cubicBezTo>
                  <a:lnTo>
                    <a:pt x="1827743" y="122107"/>
                  </a:lnTo>
                  <a:cubicBezTo>
                    <a:pt x="1829337" y="124884"/>
                    <a:pt x="1830932" y="127713"/>
                    <a:pt x="1832475" y="130593"/>
                  </a:cubicBezTo>
                  <a:cubicBezTo>
                    <a:pt x="1833229" y="131931"/>
                    <a:pt x="1833949" y="133320"/>
                    <a:pt x="1834635" y="134760"/>
                  </a:cubicBezTo>
                  <a:cubicBezTo>
                    <a:pt x="1837156" y="139543"/>
                    <a:pt x="1839419" y="144378"/>
                    <a:pt x="1841630" y="149316"/>
                  </a:cubicBezTo>
                  <a:cubicBezTo>
                    <a:pt x="1842145" y="150602"/>
                    <a:pt x="1842711" y="151888"/>
                    <a:pt x="1843225" y="153225"/>
                  </a:cubicBezTo>
                  <a:cubicBezTo>
                    <a:pt x="1845282" y="158368"/>
                    <a:pt x="1847134" y="163152"/>
                    <a:pt x="1848883" y="168244"/>
                  </a:cubicBezTo>
                  <a:cubicBezTo>
                    <a:pt x="1849551" y="170147"/>
                    <a:pt x="1850117" y="171999"/>
                    <a:pt x="1850734" y="173902"/>
                  </a:cubicBezTo>
                  <a:cubicBezTo>
                    <a:pt x="1854141" y="184868"/>
                    <a:pt x="1856788" y="196056"/>
                    <a:pt x="1858655" y="207386"/>
                  </a:cubicBezTo>
                  <a:cubicBezTo>
                    <a:pt x="1858655" y="208569"/>
                    <a:pt x="1859067" y="209803"/>
                    <a:pt x="1859221" y="211089"/>
                  </a:cubicBezTo>
                  <a:cubicBezTo>
                    <a:pt x="1859375" y="212375"/>
                    <a:pt x="1859787" y="215050"/>
                    <a:pt x="1860044" y="217056"/>
                  </a:cubicBezTo>
                  <a:cubicBezTo>
                    <a:pt x="1860301" y="219062"/>
                    <a:pt x="1860507" y="221068"/>
                    <a:pt x="1860713" y="223125"/>
                  </a:cubicBezTo>
                  <a:cubicBezTo>
                    <a:pt x="1860918" y="225182"/>
                    <a:pt x="1861073" y="227188"/>
                    <a:pt x="1861279" y="229194"/>
                  </a:cubicBezTo>
                  <a:cubicBezTo>
                    <a:pt x="1861279" y="232949"/>
                    <a:pt x="1861690" y="236704"/>
                    <a:pt x="1861793" y="240510"/>
                  </a:cubicBezTo>
                  <a:cubicBezTo>
                    <a:pt x="1861827" y="242876"/>
                    <a:pt x="1861844" y="245259"/>
                    <a:pt x="1861844" y="247660"/>
                  </a:cubicBezTo>
                  <a:close/>
                </a:path>
              </a:pathLst>
            </a:custGeom>
            <a:gradFill>
              <a:gsLst>
                <a:gs pos="0">
                  <a:srgbClr val="000000"/>
                </a:gs>
                <a:gs pos="50000">
                  <a:srgbClr val="404040"/>
                </a:gs>
                <a:gs pos="100000">
                  <a:srgbClr val="808080"/>
                </a:gs>
              </a:gsLst>
              <a:lin ang="16200000" scaled="1"/>
            </a:gradFill>
            <a:ln w="5144" cap="flat">
              <a:noFill/>
              <a:prstDash val="solid"/>
              <a:miter/>
            </a:ln>
          </p:spPr>
          <p:txBody>
            <a:bodyPr rtlCol="0" anchor="ctr"/>
            <a:lstStyle/>
            <a:p>
              <a:endParaRPr lang="de-DE" sz="3333"/>
            </a:p>
          </p:txBody>
        </p:sp>
        <p:sp>
          <p:nvSpPr>
            <p:cNvPr id="49" name="Freeform 48">
              <a:extLst>
                <a:ext uri="{FF2B5EF4-FFF2-40B4-BE49-F238E27FC236}">
                  <a16:creationId xmlns:a16="http://schemas.microsoft.com/office/drawing/2014/main" id="{A8911321-7EC6-9C38-8D36-2EA5DA5C6F53}"/>
                </a:ext>
              </a:extLst>
            </p:cNvPr>
            <p:cNvSpPr/>
            <p:nvPr/>
          </p:nvSpPr>
          <p:spPr>
            <a:xfrm>
              <a:off x="3664943" y="709751"/>
              <a:ext cx="1814266" cy="3724305"/>
            </a:xfrm>
            <a:custGeom>
              <a:avLst/>
              <a:gdLst>
                <a:gd name="connsiteX0" fmla="*/ 1601429 w 1814266"/>
                <a:gd name="connsiteY0" fmla="*/ 309 h 3724305"/>
                <a:gd name="connsiteX1" fmla="*/ 1601429 w 1814266"/>
                <a:gd name="connsiteY1" fmla="*/ 309 h 3724305"/>
                <a:gd name="connsiteX2" fmla="*/ 1589907 w 1814266"/>
                <a:gd name="connsiteY2" fmla="*/ 0 h 3724305"/>
                <a:gd name="connsiteX3" fmla="*/ 224308 w 1814266"/>
                <a:gd name="connsiteY3" fmla="*/ 0 h 3724305"/>
                <a:gd name="connsiteX4" fmla="*/ 212787 w 1814266"/>
                <a:gd name="connsiteY4" fmla="*/ 309 h 3724305"/>
                <a:gd name="connsiteX5" fmla="*/ 212787 w 1814266"/>
                <a:gd name="connsiteY5" fmla="*/ 309 h 3724305"/>
                <a:gd name="connsiteX6" fmla="*/ 0 w 1814266"/>
                <a:gd name="connsiteY6" fmla="*/ 224462 h 3724305"/>
                <a:gd name="connsiteX7" fmla="*/ 0 w 1814266"/>
                <a:gd name="connsiteY7" fmla="*/ 3499895 h 3724305"/>
                <a:gd name="connsiteX8" fmla="*/ 206614 w 1814266"/>
                <a:gd name="connsiteY8" fmla="*/ 3723637 h 3724305"/>
                <a:gd name="connsiteX9" fmla="*/ 212787 w 1814266"/>
                <a:gd name="connsiteY9" fmla="*/ 3723997 h 3724305"/>
                <a:gd name="connsiteX10" fmla="*/ 224462 w 1814266"/>
                <a:gd name="connsiteY10" fmla="*/ 3724306 h 3724305"/>
                <a:gd name="connsiteX11" fmla="*/ 1589856 w 1814266"/>
                <a:gd name="connsiteY11" fmla="*/ 3724306 h 3724305"/>
                <a:gd name="connsiteX12" fmla="*/ 1601429 w 1814266"/>
                <a:gd name="connsiteY12" fmla="*/ 3723997 h 3724305"/>
                <a:gd name="connsiteX13" fmla="*/ 1607601 w 1814266"/>
                <a:gd name="connsiteY13" fmla="*/ 3723637 h 3724305"/>
                <a:gd name="connsiteX14" fmla="*/ 1814267 w 1814266"/>
                <a:gd name="connsiteY14" fmla="*/ 3499895 h 3724305"/>
                <a:gd name="connsiteX15" fmla="*/ 1814267 w 1814266"/>
                <a:gd name="connsiteY15" fmla="*/ 224462 h 3724305"/>
                <a:gd name="connsiteX16" fmla="*/ 1601429 w 1814266"/>
                <a:gd name="connsiteY16" fmla="*/ 309 h 3724305"/>
                <a:gd name="connsiteX17" fmla="*/ 1795339 w 1814266"/>
                <a:gd name="connsiteY17" fmla="*/ 3499895 h 3724305"/>
                <a:gd name="connsiteX18" fmla="*/ 1606264 w 1814266"/>
                <a:gd name="connsiteY18" fmla="*/ 3704709 h 3724305"/>
                <a:gd name="connsiteX19" fmla="*/ 1600503 w 1814266"/>
                <a:gd name="connsiteY19" fmla="*/ 3705069 h 3724305"/>
                <a:gd name="connsiteX20" fmla="*/ 1589856 w 1814266"/>
                <a:gd name="connsiteY20" fmla="*/ 3705069 h 3724305"/>
                <a:gd name="connsiteX21" fmla="*/ 224308 w 1814266"/>
                <a:gd name="connsiteY21" fmla="*/ 3705069 h 3724305"/>
                <a:gd name="connsiteX22" fmla="*/ 213558 w 1814266"/>
                <a:gd name="connsiteY22" fmla="*/ 3705069 h 3724305"/>
                <a:gd name="connsiteX23" fmla="*/ 207952 w 1814266"/>
                <a:gd name="connsiteY23" fmla="*/ 3704709 h 3724305"/>
                <a:gd name="connsiteX24" fmla="*/ 18774 w 1814266"/>
                <a:gd name="connsiteY24" fmla="*/ 3499895 h 3724305"/>
                <a:gd name="connsiteX25" fmla="*/ 18774 w 1814266"/>
                <a:gd name="connsiteY25" fmla="*/ 224462 h 3724305"/>
                <a:gd name="connsiteX26" fmla="*/ 213147 w 1814266"/>
                <a:gd name="connsiteY26" fmla="*/ 19237 h 3724305"/>
                <a:gd name="connsiteX27" fmla="*/ 213713 w 1814266"/>
                <a:gd name="connsiteY27" fmla="*/ 19237 h 3724305"/>
                <a:gd name="connsiteX28" fmla="*/ 224308 w 1814266"/>
                <a:gd name="connsiteY28" fmla="*/ 19237 h 3724305"/>
                <a:gd name="connsiteX29" fmla="*/ 1589856 w 1814266"/>
                <a:gd name="connsiteY29" fmla="*/ 19237 h 3724305"/>
                <a:gd name="connsiteX30" fmla="*/ 1600452 w 1814266"/>
                <a:gd name="connsiteY30" fmla="*/ 19237 h 3724305"/>
                <a:gd name="connsiteX31" fmla="*/ 1600760 w 1814266"/>
                <a:gd name="connsiteY31" fmla="*/ 19237 h 3724305"/>
                <a:gd name="connsiteX32" fmla="*/ 1795339 w 1814266"/>
                <a:gd name="connsiteY32" fmla="*/ 224462 h 372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14266" h="3724305">
                  <a:moveTo>
                    <a:pt x="1601429" y="309"/>
                  </a:moveTo>
                  <a:lnTo>
                    <a:pt x="1601429" y="309"/>
                  </a:lnTo>
                  <a:cubicBezTo>
                    <a:pt x="1597623" y="309"/>
                    <a:pt x="1593817" y="0"/>
                    <a:pt x="1589907" y="0"/>
                  </a:cubicBezTo>
                  <a:lnTo>
                    <a:pt x="224308" y="0"/>
                  </a:lnTo>
                  <a:cubicBezTo>
                    <a:pt x="220399" y="0"/>
                    <a:pt x="216593" y="0"/>
                    <a:pt x="212787" y="309"/>
                  </a:cubicBezTo>
                  <a:lnTo>
                    <a:pt x="212787" y="309"/>
                  </a:lnTo>
                  <a:cubicBezTo>
                    <a:pt x="93579" y="6648"/>
                    <a:pt x="132" y="105086"/>
                    <a:pt x="0" y="224462"/>
                  </a:cubicBezTo>
                  <a:lnTo>
                    <a:pt x="0" y="3499895"/>
                  </a:lnTo>
                  <a:cubicBezTo>
                    <a:pt x="128" y="3616889"/>
                    <a:pt x="90001" y="3714211"/>
                    <a:pt x="206614" y="3723637"/>
                  </a:cubicBezTo>
                  <a:lnTo>
                    <a:pt x="212787" y="3723997"/>
                  </a:lnTo>
                  <a:cubicBezTo>
                    <a:pt x="216644" y="3723997"/>
                    <a:pt x="220502" y="3724306"/>
                    <a:pt x="224462" y="3724306"/>
                  </a:cubicBezTo>
                  <a:lnTo>
                    <a:pt x="1589856" y="3724306"/>
                  </a:lnTo>
                  <a:cubicBezTo>
                    <a:pt x="1593765" y="3724306"/>
                    <a:pt x="1597571" y="3724306"/>
                    <a:pt x="1601429" y="3723997"/>
                  </a:cubicBezTo>
                  <a:lnTo>
                    <a:pt x="1607601" y="3723637"/>
                  </a:lnTo>
                  <a:cubicBezTo>
                    <a:pt x="1724223" y="3714213"/>
                    <a:pt x="1814111" y="3616897"/>
                    <a:pt x="1814267" y="3499895"/>
                  </a:cubicBezTo>
                  <a:lnTo>
                    <a:pt x="1814267" y="224462"/>
                  </a:lnTo>
                  <a:cubicBezTo>
                    <a:pt x="1814133" y="105067"/>
                    <a:pt x="1720657" y="6621"/>
                    <a:pt x="1601429" y="309"/>
                  </a:cubicBezTo>
                  <a:close/>
                  <a:moveTo>
                    <a:pt x="1795339" y="3499895"/>
                  </a:moveTo>
                  <a:cubicBezTo>
                    <a:pt x="1794866" y="3606829"/>
                    <a:pt x="1712820" y="3695705"/>
                    <a:pt x="1606264" y="3704709"/>
                  </a:cubicBezTo>
                  <a:cubicBezTo>
                    <a:pt x="1604361" y="3704709"/>
                    <a:pt x="1602406" y="3705017"/>
                    <a:pt x="1600503" y="3705069"/>
                  </a:cubicBezTo>
                  <a:cubicBezTo>
                    <a:pt x="1596954" y="3705069"/>
                    <a:pt x="1593405" y="3705069"/>
                    <a:pt x="1589856" y="3705069"/>
                  </a:cubicBezTo>
                  <a:lnTo>
                    <a:pt x="224308" y="3705069"/>
                  </a:lnTo>
                  <a:cubicBezTo>
                    <a:pt x="220708" y="3705069"/>
                    <a:pt x="217107" y="3705069"/>
                    <a:pt x="213558" y="3705069"/>
                  </a:cubicBezTo>
                  <a:cubicBezTo>
                    <a:pt x="211655" y="3705069"/>
                    <a:pt x="209701" y="3705069"/>
                    <a:pt x="207952" y="3704709"/>
                  </a:cubicBezTo>
                  <a:cubicBezTo>
                    <a:pt x="101343" y="3695779"/>
                    <a:pt x="19227" y="3606875"/>
                    <a:pt x="18774" y="3499895"/>
                  </a:cubicBezTo>
                  <a:lnTo>
                    <a:pt x="18774" y="224462"/>
                  </a:lnTo>
                  <a:cubicBezTo>
                    <a:pt x="18725" y="115267"/>
                    <a:pt x="104110" y="25115"/>
                    <a:pt x="213147" y="19237"/>
                  </a:cubicBezTo>
                  <a:lnTo>
                    <a:pt x="213713" y="19237"/>
                  </a:lnTo>
                  <a:cubicBezTo>
                    <a:pt x="217210" y="19237"/>
                    <a:pt x="220759" y="19237"/>
                    <a:pt x="224308" y="19237"/>
                  </a:cubicBezTo>
                  <a:lnTo>
                    <a:pt x="1589856" y="19237"/>
                  </a:lnTo>
                  <a:cubicBezTo>
                    <a:pt x="1593405" y="19237"/>
                    <a:pt x="1596954" y="19237"/>
                    <a:pt x="1600452" y="19237"/>
                  </a:cubicBezTo>
                  <a:lnTo>
                    <a:pt x="1600760" y="19237"/>
                  </a:lnTo>
                  <a:cubicBezTo>
                    <a:pt x="1709890" y="24984"/>
                    <a:pt x="1795408" y="115181"/>
                    <a:pt x="1795339" y="224462"/>
                  </a:cubicBezTo>
                  <a:close/>
                </a:path>
              </a:pathLst>
            </a:custGeom>
            <a:solidFill>
              <a:srgbClr val="000000"/>
            </a:solidFill>
            <a:ln w="5144" cap="flat">
              <a:noFill/>
              <a:prstDash val="solid"/>
              <a:miter/>
            </a:ln>
          </p:spPr>
          <p:txBody>
            <a:bodyPr rtlCol="0" anchor="ctr"/>
            <a:lstStyle/>
            <a:p>
              <a:endParaRPr lang="de-DE" sz="3333"/>
            </a:p>
          </p:txBody>
        </p:sp>
        <p:sp>
          <p:nvSpPr>
            <p:cNvPr id="57" name="Freeform 56">
              <a:extLst>
                <a:ext uri="{FF2B5EF4-FFF2-40B4-BE49-F238E27FC236}">
                  <a16:creationId xmlns:a16="http://schemas.microsoft.com/office/drawing/2014/main" id="{AE768908-923D-1735-C3BA-0428E22DF07D}"/>
                </a:ext>
              </a:extLst>
            </p:cNvPr>
            <p:cNvSpPr/>
            <p:nvPr/>
          </p:nvSpPr>
          <p:spPr>
            <a:xfrm>
              <a:off x="5393777" y="784383"/>
              <a:ext cx="66453" cy="3576995"/>
            </a:xfrm>
            <a:custGeom>
              <a:avLst/>
              <a:gdLst>
                <a:gd name="connsiteX0" fmla="*/ 66454 w 66453"/>
                <a:gd name="connsiteY0" fmla="*/ 151116 h 3576995"/>
                <a:gd name="connsiteX1" fmla="*/ 66454 w 66453"/>
                <a:gd name="connsiteY1" fmla="*/ 3426600 h 3576995"/>
                <a:gd name="connsiteX2" fmla="*/ 39605 w 66453"/>
                <a:gd name="connsiteY2" fmla="*/ 3527567 h 3576995"/>
                <a:gd name="connsiteX3" fmla="*/ 34461 w 66453"/>
                <a:gd name="connsiteY3" fmla="*/ 3535693 h 3576995"/>
                <a:gd name="connsiteX4" fmla="*/ 26489 w 66453"/>
                <a:gd name="connsiteY4" fmla="*/ 3547318 h 3576995"/>
                <a:gd name="connsiteX5" fmla="*/ 51 w 66453"/>
                <a:gd name="connsiteY5" fmla="*/ 3576996 h 3576995"/>
                <a:gd name="connsiteX6" fmla="*/ 28289 w 66453"/>
                <a:gd name="connsiteY6" fmla="*/ 3470782 h 3576995"/>
                <a:gd name="connsiteX7" fmla="*/ 28289 w 66453"/>
                <a:gd name="connsiteY7" fmla="*/ 3433286 h 3576995"/>
                <a:gd name="connsiteX8" fmla="*/ 28289 w 66453"/>
                <a:gd name="connsiteY8" fmla="*/ 3426497 h 3576995"/>
                <a:gd name="connsiteX9" fmla="*/ 28289 w 66453"/>
                <a:gd name="connsiteY9" fmla="*/ 150807 h 3576995"/>
                <a:gd name="connsiteX10" fmla="*/ 28289 w 66453"/>
                <a:gd name="connsiteY10" fmla="*/ 143864 h 3576995"/>
                <a:gd name="connsiteX11" fmla="*/ 28289 w 66453"/>
                <a:gd name="connsiteY11" fmla="*/ 106933 h 3576995"/>
                <a:gd name="connsiteX12" fmla="*/ 0 w 66453"/>
                <a:gd name="connsiteY12" fmla="*/ 0 h 3576995"/>
                <a:gd name="connsiteX13" fmla="*/ 66454 w 66453"/>
                <a:gd name="connsiteY13" fmla="*/ 151116 h 357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453" h="3576995">
                  <a:moveTo>
                    <a:pt x="66454" y="151116"/>
                  </a:moveTo>
                  <a:lnTo>
                    <a:pt x="66454" y="3426600"/>
                  </a:lnTo>
                  <a:cubicBezTo>
                    <a:pt x="66433" y="3462017"/>
                    <a:pt x="57178" y="3496817"/>
                    <a:pt x="39605" y="3527567"/>
                  </a:cubicBezTo>
                  <a:cubicBezTo>
                    <a:pt x="38010" y="3530344"/>
                    <a:pt x="36365" y="3533019"/>
                    <a:pt x="34461" y="3535693"/>
                  </a:cubicBezTo>
                  <a:cubicBezTo>
                    <a:pt x="31889" y="3539654"/>
                    <a:pt x="29318" y="3543563"/>
                    <a:pt x="26489" y="3547318"/>
                  </a:cubicBezTo>
                  <a:cubicBezTo>
                    <a:pt x="18621" y="3558013"/>
                    <a:pt x="9770" y="3567949"/>
                    <a:pt x="51" y="3576996"/>
                  </a:cubicBezTo>
                  <a:cubicBezTo>
                    <a:pt x="18569" y="3544661"/>
                    <a:pt x="28304" y="3508044"/>
                    <a:pt x="28289" y="3470782"/>
                  </a:cubicBezTo>
                  <a:lnTo>
                    <a:pt x="28289" y="3433286"/>
                  </a:lnTo>
                  <a:cubicBezTo>
                    <a:pt x="28289" y="3431023"/>
                    <a:pt x="28289" y="3428760"/>
                    <a:pt x="28289" y="3426497"/>
                  </a:cubicBezTo>
                  <a:lnTo>
                    <a:pt x="28289" y="150807"/>
                  </a:lnTo>
                  <a:cubicBezTo>
                    <a:pt x="28289" y="148510"/>
                    <a:pt x="28289" y="146195"/>
                    <a:pt x="28289" y="143864"/>
                  </a:cubicBezTo>
                  <a:lnTo>
                    <a:pt x="28289" y="106933"/>
                  </a:lnTo>
                  <a:cubicBezTo>
                    <a:pt x="28366" y="69429"/>
                    <a:pt x="18612" y="32560"/>
                    <a:pt x="0" y="0"/>
                  </a:cubicBezTo>
                  <a:cubicBezTo>
                    <a:pt x="42338" y="38842"/>
                    <a:pt x="66445" y="93660"/>
                    <a:pt x="66454" y="151116"/>
                  </a:cubicBezTo>
                  <a:close/>
                </a:path>
              </a:pathLst>
            </a:custGeom>
            <a:gradFill>
              <a:gsLst>
                <a:gs pos="0">
                  <a:srgbClr val="F1F1F1"/>
                </a:gs>
                <a:gs pos="0">
                  <a:srgbClr val="F0F0F0"/>
                </a:gs>
                <a:gs pos="14000">
                  <a:srgbClr val="B7B7B7"/>
                </a:gs>
                <a:gs pos="27000">
                  <a:srgbClr val="888888"/>
                </a:gs>
                <a:gs pos="40000">
                  <a:srgbClr val="636363"/>
                </a:gs>
                <a:gs pos="51000">
                  <a:srgbClr val="494949"/>
                </a:gs>
                <a:gs pos="62000">
                  <a:srgbClr val="393939"/>
                </a:gs>
                <a:gs pos="70000">
                  <a:srgbClr val="333333"/>
                </a:gs>
              </a:gsLst>
              <a:lin ang="0" scaled="1"/>
            </a:gradFill>
            <a:ln w="5144" cap="flat">
              <a:noFill/>
              <a:prstDash val="solid"/>
              <a:miter/>
            </a:ln>
          </p:spPr>
          <p:txBody>
            <a:bodyPr rtlCol="0" anchor="ctr"/>
            <a:lstStyle/>
            <a:p>
              <a:endParaRPr lang="de-DE" sz="3333"/>
            </a:p>
          </p:txBody>
        </p:sp>
        <p:sp>
          <p:nvSpPr>
            <p:cNvPr id="58" name="Freeform 57">
              <a:extLst>
                <a:ext uri="{FF2B5EF4-FFF2-40B4-BE49-F238E27FC236}">
                  <a16:creationId xmlns:a16="http://schemas.microsoft.com/office/drawing/2014/main" id="{DD7489D6-0B4D-D037-757D-966B7EE12F96}"/>
                </a:ext>
              </a:extLst>
            </p:cNvPr>
            <p:cNvSpPr/>
            <p:nvPr/>
          </p:nvSpPr>
          <p:spPr>
            <a:xfrm>
              <a:off x="3702748" y="747916"/>
              <a:ext cx="1738503" cy="3648233"/>
            </a:xfrm>
            <a:custGeom>
              <a:avLst/>
              <a:gdLst>
                <a:gd name="connsiteX0" fmla="*/ 1561978 w 1738503"/>
                <a:gd name="connsiteY0" fmla="*/ 0 h 3648233"/>
                <a:gd name="connsiteX1" fmla="*/ 1561104 w 1738503"/>
                <a:gd name="connsiteY1" fmla="*/ 0 h 3648233"/>
                <a:gd name="connsiteX2" fmla="*/ 1552051 w 1738503"/>
                <a:gd name="connsiteY2" fmla="*/ 0 h 3648233"/>
                <a:gd name="connsiteX3" fmla="*/ 186503 w 1738503"/>
                <a:gd name="connsiteY3" fmla="*/ 0 h 3648233"/>
                <a:gd name="connsiteX4" fmla="*/ 177245 w 1738503"/>
                <a:gd name="connsiteY4" fmla="*/ 0 h 3648233"/>
                <a:gd name="connsiteX5" fmla="*/ 176319 w 1738503"/>
                <a:gd name="connsiteY5" fmla="*/ 0 h 3648233"/>
                <a:gd name="connsiteX6" fmla="*/ 175856 w 1738503"/>
                <a:gd name="connsiteY6" fmla="*/ 0 h 3648233"/>
                <a:gd name="connsiteX7" fmla="*/ 0 w 1738503"/>
                <a:gd name="connsiteY7" fmla="*/ 186298 h 3648233"/>
                <a:gd name="connsiteX8" fmla="*/ 0 w 1738503"/>
                <a:gd name="connsiteY8" fmla="*/ 3461730 h 3648233"/>
                <a:gd name="connsiteX9" fmla="*/ 171742 w 1738503"/>
                <a:gd name="connsiteY9" fmla="*/ 3647668 h 3648233"/>
                <a:gd name="connsiteX10" fmla="*/ 176268 w 1738503"/>
                <a:gd name="connsiteY10" fmla="*/ 3647976 h 3648233"/>
                <a:gd name="connsiteX11" fmla="*/ 176782 w 1738503"/>
                <a:gd name="connsiteY11" fmla="*/ 3647976 h 3648233"/>
                <a:gd name="connsiteX12" fmla="*/ 186555 w 1738503"/>
                <a:gd name="connsiteY12" fmla="*/ 3648233 h 3648233"/>
                <a:gd name="connsiteX13" fmla="*/ 1552051 w 1738503"/>
                <a:gd name="connsiteY13" fmla="*/ 3648233 h 3648233"/>
                <a:gd name="connsiteX14" fmla="*/ 1561670 w 1738503"/>
                <a:gd name="connsiteY14" fmla="*/ 3647976 h 3648233"/>
                <a:gd name="connsiteX15" fmla="*/ 1562235 w 1738503"/>
                <a:gd name="connsiteY15" fmla="*/ 3647976 h 3648233"/>
                <a:gd name="connsiteX16" fmla="*/ 1566968 w 1738503"/>
                <a:gd name="connsiteY16" fmla="*/ 3647668 h 3648233"/>
                <a:gd name="connsiteX17" fmla="*/ 1738503 w 1738503"/>
                <a:gd name="connsiteY17" fmla="*/ 3461730 h 3648233"/>
                <a:gd name="connsiteX18" fmla="*/ 1738503 w 1738503"/>
                <a:gd name="connsiteY18" fmla="*/ 186298 h 3648233"/>
                <a:gd name="connsiteX19" fmla="*/ 1561978 w 1738503"/>
                <a:gd name="connsiteY19" fmla="*/ 0 h 3648233"/>
                <a:gd name="connsiteX20" fmla="*/ 1688817 w 1738503"/>
                <a:gd name="connsiteY20" fmla="*/ 3461575 h 3648233"/>
                <a:gd name="connsiteX21" fmla="*/ 1563058 w 1738503"/>
                <a:gd name="connsiteY21" fmla="*/ 3598341 h 3648233"/>
                <a:gd name="connsiteX22" fmla="*/ 1561052 w 1738503"/>
                <a:gd name="connsiteY22" fmla="*/ 3598341 h 3648233"/>
                <a:gd name="connsiteX23" fmla="*/ 1558995 w 1738503"/>
                <a:gd name="connsiteY23" fmla="*/ 3598341 h 3648233"/>
                <a:gd name="connsiteX24" fmla="*/ 1552051 w 1738503"/>
                <a:gd name="connsiteY24" fmla="*/ 3598341 h 3648233"/>
                <a:gd name="connsiteX25" fmla="*/ 186503 w 1738503"/>
                <a:gd name="connsiteY25" fmla="*/ 3598341 h 3648233"/>
                <a:gd name="connsiteX26" fmla="*/ 179405 w 1738503"/>
                <a:gd name="connsiteY26" fmla="*/ 3598341 h 3648233"/>
                <a:gd name="connsiteX27" fmla="*/ 177451 w 1738503"/>
                <a:gd name="connsiteY27" fmla="*/ 3598341 h 3648233"/>
                <a:gd name="connsiteX28" fmla="*/ 175599 w 1738503"/>
                <a:gd name="connsiteY28" fmla="*/ 3598341 h 3648233"/>
                <a:gd name="connsiteX29" fmla="*/ 49686 w 1738503"/>
                <a:gd name="connsiteY29" fmla="*/ 3461987 h 3648233"/>
                <a:gd name="connsiteX30" fmla="*/ 49686 w 1738503"/>
                <a:gd name="connsiteY30" fmla="*/ 186298 h 3648233"/>
                <a:gd name="connsiteX31" fmla="*/ 177399 w 1738503"/>
                <a:gd name="connsiteY31" fmla="*/ 49789 h 3648233"/>
                <a:gd name="connsiteX32" fmla="*/ 178634 w 1738503"/>
                <a:gd name="connsiteY32" fmla="*/ 49789 h 3648233"/>
                <a:gd name="connsiteX33" fmla="*/ 180485 w 1738503"/>
                <a:gd name="connsiteY33" fmla="*/ 49789 h 3648233"/>
                <a:gd name="connsiteX34" fmla="*/ 186503 w 1738503"/>
                <a:gd name="connsiteY34" fmla="*/ 49789 h 3648233"/>
                <a:gd name="connsiteX35" fmla="*/ 1552051 w 1738503"/>
                <a:gd name="connsiteY35" fmla="*/ 49789 h 3648233"/>
                <a:gd name="connsiteX36" fmla="*/ 1558224 w 1738503"/>
                <a:gd name="connsiteY36" fmla="*/ 49789 h 3648233"/>
                <a:gd name="connsiteX37" fmla="*/ 1559355 w 1738503"/>
                <a:gd name="connsiteY37" fmla="*/ 49789 h 3648233"/>
                <a:gd name="connsiteX38" fmla="*/ 1688817 w 1738503"/>
                <a:gd name="connsiteY38" fmla="*/ 186400 h 364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38503" h="3648233">
                  <a:moveTo>
                    <a:pt x="1561978" y="0"/>
                  </a:moveTo>
                  <a:lnTo>
                    <a:pt x="1561104" y="0"/>
                  </a:lnTo>
                  <a:cubicBezTo>
                    <a:pt x="1558121" y="0"/>
                    <a:pt x="1555086" y="0"/>
                    <a:pt x="1552051" y="0"/>
                  </a:cubicBezTo>
                  <a:lnTo>
                    <a:pt x="186503" y="0"/>
                  </a:lnTo>
                  <a:cubicBezTo>
                    <a:pt x="183366" y="0"/>
                    <a:pt x="180280" y="0"/>
                    <a:pt x="177245" y="0"/>
                  </a:cubicBezTo>
                  <a:lnTo>
                    <a:pt x="176319" y="0"/>
                  </a:lnTo>
                  <a:lnTo>
                    <a:pt x="175856" y="0"/>
                  </a:lnTo>
                  <a:cubicBezTo>
                    <a:pt x="77101" y="5621"/>
                    <a:pt x="-78" y="87382"/>
                    <a:pt x="0" y="186298"/>
                  </a:cubicBezTo>
                  <a:lnTo>
                    <a:pt x="0" y="3461730"/>
                  </a:lnTo>
                  <a:cubicBezTo>
                    <a:pt x="384" y="3558861"/>
                    <a:pt x="74946" y="3639587"/>
                    <a:pt x="171742" y="3647668"/>
                  </a:cubicBezTo>
                  <a:cubicBezTo>
                    <a:pt x="173130" y="3647668"/>
                    <a:pt x="174725" y="3647668"/>
                    <a:pt x="176268" y="3647976"/>
                  </a:cubicBezTo>
                  <a:lnTo>
                    <a:pt x="176782" y="3647976"/>
                  </a:lnTo>
                  <a:cubicBezTo>
                    <a:pt x="180023" y="3647976"/>
                    <a:pt x="183263" y="3648233"/>
                    <a:pt x="186555" y="3648233"/>
                  </a:cubicBezTo>
                  <a:lnTo>
                    <a:pt x="1552051" y="3648233"/>
                  </a:lnTo>
                  <a:cubicBezTo>
                    <a:pt x="1555292" y="3648233"/>
                    <a:pt x="1558481" y="3648233"/>
                    <a:pt x="1561670" y="3647976"/>
                  </a:cubicBezTo>
                  <a:lnTo>
                    <a:pt x="1562235" y="3647976"/>
                  </a:lnTo>
                  <a:cubicBezTo>
                    <a:pt x="1563830" y="3647976"/>
                    <a:pt x="1565424" y="3647976"/>
                    <a:pt x="1566968" y="3647668"/>
                  </a:cubicBezTo>
                  <a:cubicBezTo>
                    <a:pt x="1663693" y="3639510"/>
                    <a:pt x="1738153" y="3558798"/>
                    <a:pt x="1738503" y="3461730"/>
                  </a:cubicBezTo>
                  <a:lnTo>
                    <a:pt x="1738503" y="186298"/>
                  </a:lnTo>
                  <a:cubicBezTo>
                    <a:pt x="1738588" y="87128"/>
                    <a:pt x="1661009" y="5254"/>
                    <a:pt x="1561978" y="0"/>
                  </a:cubicBezTo>
                  <a:close/>
                  <a:moveTo>
                    <a:pt x="1688817" y="3461575"/>
                  </a:moveTo>
                  <a:cubicBezTo>
                    <a:pt x="1688801" y="3532915"/>
                    <a:pt x="1634146" y="3592354"/>
                    <a:pt x="1563058" y="3598341"/>
                  </a:cubicBezTo>
                  <a:lnTo>
                    <a:pt x="1561052" y="3598341"/>
                  </a:lnTo>
                  <a:lnTo>
                    <a:pt x="1558995" y="3598341"/>
                  </a:lnTo>
                  <a:cubicBezTo>
                    <a:pt x="1556681" y="3598341"/>
                    <a:pt x="1554366" y="3598341"/>
                    <a:pt x="1552051" y="3598341"/>
                  </a:cubicBezTo>
                  <a:lnTo>
                    <a:pt x="186503" y="3598341"/>
                  </a:lnTo>
                  <a:cubicBezTo>
                    <a:pt x="184137" y="3598341"/>
                    <a:pt x="181720" y="3598341"/>
                    <a:pt x="179405" y="3598341"/>
                  </a:cubicBezTo>
                  <a:lnTo>
                    <a:pt x="177451" y="3598341"/>
                  </a:lnTo>
                  <a:lnTo>
                    <a:pt x="175599" y="3598341"/>
                  </a:lnTo>
                  <a:cubicBezTo>
                    <a:pt x="104630" y="3592396"/>
                    <a:pt x="49971" y="3533204"/>
                    <a:pt x="49686" y="3461987"/>
                  </a:cubicBezTo>
                  <a:lnTo>
                    <a:pt x="49686" y="186298"/>
                  </a:lnTo>
                  <a:cubicBezTo>
                    <a:pt x="49689" y="114272"/>
                    <a:pt x="105533" y="54582"/>
                    <a:pt x="177399" y="49789"/>
                  </a:cubicBezTo>
                  <a:lnTo>
                    <a:pt x="178634" y="49789"/>
                  </a:lnTo>
                  <a:lnTo>
                    <a:pt x="180485" y="49789"/>
                  </a:lnTo>
                  <a:lnTo>
                    <a:pt x="186503" y="49789"/>
                  </a:lnTo>
                  <a:lnTo>
                    <a:pt x="1552051" y="49789"/>
                  </a:lnTo>
                  <a:lnTo>
                    <a:pt x="1558224" y="49789"/>
                  </a:lnTo>
                  <a:lnTo>
                    <a:pt x="1559355" y="49789"/>
                  </a:lnTo>
                  <a:cubicBezTo>
                    <a:pt x="1631986" y="53621"/>
                    <a:pt x="1688891" y="113668"/>
                    <a:pt x="1688817" y="186400"/>
                  </a:cubicBezTo>
                  <a:close/>
                </a:path>
              </a:pathLst>
            </a:custGeom>
            <a:solidFill>
              <a:srgbClr val="000000"/>
            </a:solidFill>
            <a:ln w="5144" cap="flat">
              <a:noFill/>
              <a:prstDash val="solid"/>
              <a:miter/>
            </a:ln>
          </p:spPr>
          <p:txBody>
            <a:bodyPr rtlCol="0" anchor="ctr"/>
            <a:lstStyle/>
            <a:p>
              <a:endParaRPr lang="de-DE" sz="3333"/>
            </a:p>
          </p:txBody>
        </p:sp>
        <p:sp>
          <p:nvSpPr>
            <p:cNvPr id="59" name="Freeform 58">
              <a:extLst>
                <a:ext uri="{FF2B5EF4-FFF2-40B4-BE49-F238E27FC236}">
                  <a16:creationId xmlns:a16="http://schemas.microsoft.com/office/drawing/2014/main" id="{E414D844-3396-68B6-0A08-6CAF5584B4E9}"/>
                </a:ext>
              </a:extLst>
            </p:cNvPr>
            <p:cNvSpPr/>
            <p:nvPr/>
          </p:nvSpPr>
          <p:spPr>
            <a:xfrm>
              <a:off x="4107747" y="797242"/>
              <a:ext cx="928504" cy="126735"/>
            </a:xfrm>
            <a:custGeom>
              <a:avLst/>
              <a:gdLst>
                <a:gd name="connsiteX0" fmla="*/ 928505 w 928504"/>
                <a:gd name="connsiteY0" fmla="*/ 0 h 126735"/>
                <a:gd name="connsiteX1" fmla="*/ 928505 w 928504"/>
                <a:gd name="connsiteY1" fmla="*/ 17899 h 126735"/>
                <a:gd name="connsiteX2" fmla="*/ 819668 w 928504"/>
                <a:gd name="connsiteY2" fmla="*/ 126736 h 126735"/>
                <a:gd name="connsiteX3" fmla="*/ 108836 w 928504"/>
                <a:gd name="connsiteY3" fmla="*/ 126736 h 126735"/>
                <a:gd name="connsiteX4" fmla="*/ 0 w 928504"/>
                <a:gd name="connsiteY4" fmla="*/ 17899 h 126735"/>
                <a:gd name="connsiteX5" fmla="*/ 0 w 928504"/>
                <a:gd name="connsiteY5"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504" h="126735">
                  <a:moveTo>
                    <a:pt x="928505" y="0"/>
                  </a:moveTo>
                  <a:lnTo>
                    <a:pt x="928505" y="17899"/>
                  </a:lnTo>
                  <a:cubicBezTo>
                    <a:pt x="928505" y="78008"/>
                    <a:pt x="879777" y="126736"/>
                    <a:pt x="819668" y="126736"/>
                  </a:cubicBezTo>
                  <a:lnTo>
                    <a:pt x="108836" y="126736"/>
                  </a:lnTo>
                  <a:cubicBezTo>
                    <a:pt x="48728" y="126736"/>
                    <a:pt x="0" y="78008"/>
                    <a:pt x="0" y="17899"/>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0" name="Freeform 59">
              <a:extLst>
                <a:ext uri="{FF2B5EF4-FFF2-40B4-BE49-F238E27FC236}">
                  <a16:creationId xmlns:a16="http://schemas.microsoft.com/office/drawing/2014/main" id="{A13BFDF1-8833-72EE-3F2B-4011C7D057EB}"/>
                </a:ext>
              </a:extLst>
            </p:cNvPr>
            <p:cNvSpPr/>
            <p:nvPr/>
          </p:nvSpPr>
          <p:spPr>
            <a:xfrm>
              <a:off x="4107747" y="797242"/>
              <a:ext cx="928504" cy="126735"/>
            </a:xfrm>
            <a:custGeom>
              <a:avLst/>
              <a:gdLst>
                <a:gd name="connsiteX0" fmla="*/ 928505 w 928504"/>
                <a:gd name="connsiteY0" fmla="*/ 0 h 126735"/>
                <a:gd name="connsiteX1" fmla="*/ 928505 w 928504"/>
                <a:gd name="connsiteY1" fmla="*/ 17848 h 126735"/>
                <a:gd name="connsiteX2" fmla="*/ 819720 w 928504"/>
                <a:gd name="connsiteY2" fmla="*/ 126736 h 126735"/>
                <a:gd name="connsiteX3" fmla="*/ 819668 w 928504"/>
                <a:gd name="connsiteY3" fmla="*/ 126736 h 126735"/>
                <a:gd name="connsiteX4" fmla="*/ 108836 w 928504"/>
                <a:gd name="connsiteY4" fmla="*/ 126736 h 126735"/>
                <a:gd name="connsiteX5" fmla="*/ 0 w 928504"/>
                <a:gd name="connsiteY5" fmla="*/ 17899 h 126735"/>
                <a:gd name="connsiteX6" fmla="*/ 0 w 928504"/>
                <a:gd name="connsiteY6" fmla="*/ 17848 h 126735"/>
                <a:gd name="connsiteX7" fmla="*/ 0 w 928504"/>
                <a:gd name="connsiteY7" fmla="*/ 0 h 12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504" h="126735">
                  <a:moveTo>
                    <a:pt x="928505" y="0"/>
                  </a:moveTo>
                  <a:lnTo>
                    <a:pt x="928505" y="17848"/>
                  </a:lnTo>
                  <a:cubicBezTo>
                    <a:pt x="928533" y="77957"/>
                    <a:pt x="879828" y="126707"/>
                    <a:pt x="819720" y="126736"/>
                  </a:cubicBezTo>
                  <a:cubicBezTo>
                    <a:pt x="819702" y="126736"/>
                    <a:pt x="819685" y="126736"/>
                    <a:pt x="819668" y="126736"/>
                  </a:cubicBezTo>
                  <a:lnTo>
                    <a:pt x="108836" y="126736"/>
                  </a:lnTo>
                  <a:cubicBezTo>
                    <a:pt x="48728" y="126736"/>
                    <a:pt x="0" y="78008"/>
                    <a:pt x="0" y="17899"/>
                  </a:cubicBezTo>
                  <a:cubicBezTo>
                    <a:pt x="0" y="17882"/>
                    <a:pt x="0" y="17865"/>
                    <a:pt x="0" y="17848"/>
                  </a:cubicBezTo>
                  <a:lnTo>
                    <a:pt x="0" y="0"/>
                  </a:lnTo>
                  <a:close/>
                </a:path>
              </a:pathLst>
            </a:custGeom>
            <a:solidFill>
              <a:srgbClr val="000000"/>
            </a:solidFill>
            <a:ln w="5144" cap="flat">
              <a:noFill/>
              <a:prstDash val="solid"/>
              <a:miter/>
            </a:ln>
          </p:spPr>
          <p:txBody>
            <a:bodyPr rtlCol="0" anchor="ctr"/>
            <a:lstStyle/>
            <a:p>
              <a:endParaRPr lang="de-DE" sz="3333"/>
            </a:p>
          </p:txBody>
        </p:sp>
        <p:sp>
          <p:nvSpPr>
            <p:cNvPr id="61" name="Freeform 60">
              <a:extLst>
                <a:ext uri="{FF2B5EF4-FFF2-40B4-BE49-F238E27FC236}">
                  <a16:creationId xmlns:a16="http://schemas.microsoft.com/office/drawing/2014/main" id="{C441DD32-CCC0-1672-48E4-187FE97F4EE2}"/>
                </a:ext>
              </a:extLst>
            </p:cNvPr>
            <p:cNvSpPr/>
            <p:nvPr/>
          </p:nvSpPr>
          <p:spPr>
            <a:xfrm>
              <a:off x="3721728" y="4210880"/>
              <a:ext cx="1700595" cy="205225"/>
            </a:xfrm>
            <a:custGeom>
              <a:avLst/>
              <a:gdLst>
                <a:gd name="connsiteX0" fmla="*/ 1700595 w 1700595"/>
                <a:gd name="connsiteY0" fmla="*/ 6789 h 205225"/>
                <a:gd name="connsiteX1" fmla="*/ 1700595 w 1700595"/>
                <a:gd name="connsiteY1" fmla="*/ 44543 h 205225"/>
                <a:gd name="connsiteX2" fmla="*/ 1672358 w 1700595"/>
                <a:gd name="connsiteY2" fmla="*/ 150756 h 205225"/>
                <a:gd name="connsiteX3" fmla="*/ 1549788 w 1700595"/>
                <a:gd name="connsiteY3" fmla="*/ 204609 h 205225"/>
                <a:gd name="connsiteX4" fmla="*/ 1543976 w 1700595"/>
                <a:gd name="connsiteY4" fmla="*/ 204917 h 205225"/>
                <a:gd name="connsiteX5" fmla="*/ 1533380 w 1700595"/>
                <a:gd name="connsiteY5" fmla="*/ 205226 h 205225"/>
                <a:gd name="connsiteX6" fmla="*/ 167627 w 1700595"/>
                <a:gd name="connsiteY6" fmla="*/ 205226 h 205225"/>
                <a:gd name="connsiteX7" fmla="*/ 156825 w 1700595"/>
                <a:gd name="connsiteY7" fmla="*/ 204917 h 205225"/>
                <a:gd name="connsiteX8" fmla="*/ 151270 w 1700595"/>
                <a:gd name="connsiteY8" fmla="*/ 204609 h 205225"/>
                <a:gd name="connsiteX9" fmla="*/ 143452 w 1700595"/>
                <a:gd name="connsiteY9" fmla="*/ 203785 h 205225"/>
                <a:gd name="connsiteX10" fmla="*/ 28444 w 1700595"/>
                <a:gd name="connsiteY10" fmla="*/ 150807 h 205225"/>
                <a:gd name="connsiteX11" fmla="*/ 0 w 1700595"/>
                <a:gd name="connsiteY11" fmla="*/ 44183 h 205225"/>
                <a:gd name="connsiteX12" fmla="*/ 0 w 1700595"/>
                <a:gd name="connsiteY12" fmla="*/ 0 h 205225"/>
                <a:gd name="connsiteX13" fmla="*/ 58996 w 1700595"/>
                <a:gd name="connsiteY13" fmla="*/ 127302 h 205225"/>
                <a:gd name="connsiteX14" fmla="*/ 154254 w 1700595"/>
                <a:gd name="connsiteY14" fmla="*/ 167061 h 205225"/>
                <a:gd name="connsiteX15" fmla="*/ 157803 w 1700595"/>
                <a:gd name="connsiteY15" fmla="*/ 167061 h 205225"/>
                <a:gd name="connsiteX16" fmla="*/ 158831 w 1700595"/>
                <a:gd name="connsiteY16" fmla="*/ 167061 h 205225"/>
                <a:gd name="connsiteX17" fmla="*/ 167627 w 1700595"/>
                <a:gd name="connsiteY17" fmla="*/ 167318 h 205225"/>
                <a:gd name="connsiteX18" fmla="*/ 1533175 w 1700595"/>
                <a:gd name="connsiteY18" fmla="*/ 167318 h 205225"/>
                <a:gd name="connsiteX19" fmla="*/ 1541764 w 1700595"/>
                <a:gd name="connsiteY19" fmla="*/ 167061 h 205225"/>
                <a:gd name="connsiteX20" fmla="*/ 1542844 w 1700595"/>
                <a:gd name="connsiteY20" fmla="*/ 167061 h 205225"/>
                <a:gd name="connsiteX21" fmla="*/ 1546753 w 1700595"/>
                <a:gd name="connsiteY21" fmla="*/ 167061 h 205225"/>
                <a:gd name="connsiteX22" fmla="*/ 1700595 w 1700595"/>
                <a:gd name="connsiteY22" fmla="*/ 6789 h 20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00595" h="205225">
                  <a:moveTo>
                    <a:pt x="1700595" y="6789"/>
                  </a:moveTo>
                  <a:lnTo>
                    <a:pt x="1700595" y="44543"/>
                  </a:lnTo>
                  <a:cubicBezTo>
                    <a:pt x="1700610" y="81804"/>
                    <a:pt x="1690875" y="118421"/>
                    <a:pt x="1672358" y="150756"/>
                  </a:cubicBezTo>
                  <a:cubicBezTo>
                    <a:pt x="1638705" y="181958"/>
                    <a:pt x="1595531" y="200926"/>
                    <a:pt x="1549788" y="204609"/>
                  </a:cubicBezTo>
                  <a:cubicBezTo>
                    <a:pt x="1547885" y="204609"/>
                    <a:pt x="1545930" y="204609"/>
                    <a:pt x="1543976" y="204917"/>
                  </a:cubicBezTo>
                  <a:cubicBezTo>
                    <a:pt x="1540478" y="204917"/>
                    <a:pt x="1536929" y="205226"/>
                    <a:pt x="1533380" y="205226"/>
                  </a:cubicBezTo>
                  <a:lnTo>
                    <a:pt x="167627" y="205226"/>
                  </a:lnTo>
                  <a:cubicBezTo>
                    <a:pt x="164198" y="205226"/>
                    <a:pt x="160597" y="205123"/>
                    <a:pt x="156825" y="204917"/>
                  </a:cubicBezTo>
                  <a:cubicBezTo>
                    <a:pt x="154974" y="204917"/>
                    <a:pt x="153019" y="204917"/>
                    <a:pt x="151270" y="204609"/>
                  </a:cubicBezTo>
                  <a:cubicBezTo>
                    <a:pt x="148647" y="204609"/>
                    <a:pt x="146127" y="204146"/>
                    <a:pt x="143452" y="203785"/>
                  </a:cubicBezTo>
                  <a:cubicBezTo>
                    <a:pt x="100467" y="198773"/>
                    <a:pt x="60190" y="180219"/>
                    <a:pt x="28444" y="150807"/>
                  </a:cubicBezTo>
                  <a:cubicBezTo>
                    <a:pt x="9805" y="118363"/>
                    <a:pt x="-2" y="81600"/>
                    <a:pt x="0" y="44183"/>
                  </a:cubicBezTo>
                  <a:lnTo>
                    <a:pt x="0" y="0"/>
                  </a:lnTo>
                  <a:cubicBezTo>
                    <a:pt x="127" y="49014"/>
                    <a:pt x="21680" y="95522"/>
                    <a:pt x="58996" y="127302"/>
                  </a:cubicBezTo>
                  <a:cubicBezTo>
                    <a:pt x="85718" y="150339"/>
                    <a:pt x="119083" y="164266"/>
                    <a:pt x="154254" y="167061"/>
                  </a:cubicBezTo>
                  <a:cubicBezTo>
                    <a:pt x="155437" y="167061"/>
                    <a:pt x="156620" y="167061"/>
                    <a:pt x="157803" y="167061"/>
                  </a:cubicBezTo>
                  <a:lnTo>
                    <a:pt x="158831" y="167061"/>
                  </a:lnTo>
                  <a:cubicBezTo>
                    <a:pt x="161712" y="167061"/>
                    <a:pt x="164643" y="167318"/>
                    <a:pt x="167627" y="167318"/>
                  </a:cubicBezTo>
                  <a:lnTo>
                    <a:pt x="1533175" y="167318"/>
                  </a:lnTo>
                  <a:cubicBezTo>
                    <a:pt x="1536003" y="167318"/>
                    <a:pt x="1538935" y="167318"/>
                    <a:pt x="1541764" y="167061"/>
                  </a:cubicBezTo>
                  <a:lnTo>
                    <a:pt x="1542844" y="167061"/>
                  </a:lnTo>
                  <a:cubicBezTo>
                    <a:pt x="1544181" y="167061"/>
                    <a:pt x="1545467" y="167061"/>
                    <a:pt x="1546753" y="167061"/>
                  </a:cubicBezTo>
                  <a:cubicBezTo>
                    <a:pt x="1631030" y="159902"/>
                    <a:pt x="1696891" y="91288"/>
                    <a:pt x="1700595" y="6789"/>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2" name="Freeform 61">
              <a:extLst>
                <a:ext uri="{FF2B5EF4-FFF2-40B4-BE49-F238E27FC236}">
                  <a16:creationId xmlns:a16="http://schemas.microsoft.com/office/drawing/2014/main" id="{19CE465A-9517-2448-8810-170FD0A8CBF5}"/>
                </a:ext>
              </a:extLst>
            </p:cNvPr>
            <p:cNvSpPr/>
            <p:nvPr/>
          </p:nvSpPr>
          <p:spPr>
            <a:xfrm>
              <a:off x="3721727" y="730016"/>
              <a:ext cx="1738503" cy="205482"/>
            </a:xfrm>
            <a:custGeom>
              <a:avLst/>
              <a:gdLst>
                <a:gd name="connsiteX0" fmla="*/ 1738504 w 1738503"/>
                <a:gd name="connsiteY0" fmla="*/ 205483 h 205482"/>
                <a:gd name="connsiteX1" fmla="*/ 1738504 w 1738503"/>
                <a:gd name="connsiteY1" fmla="*/ 205174 h 205482"/>
                <a:gd name="connsiteX2" fmla="*/ 1543925 w 1738503"/>
                <a:gd name="connsiteY2" fmla="*/ 0 h 205482"/>
                <a:gd name="connsiteX3" fmla="*/ 1543565 w 1738503"/>
                <a:gd name="connsiteY3" fmla="*/ 0 h 205482"/>
                <a:gd name="connsiteX4" fmla="*/ 1533021 w 1738503"/>
                <a:gd name="connsiteY4" fmla="*/ 0 h 205482"/>
                <a:gd name="connsiteX5" fmla="*/ 167627 w 1738503"/>
                <a:gd name="connsiteY5" fmla="*/ 0 h 205482"/>
                <a:gd name="connsiteX6" fmla="*/ 157032 w 1738503"/>
                <a:gd name="connsiteY6" fmla="*/ 0 h 205482"/>
                <a:gd name="connsiteX7" fmla="*/ 156466 w 1738503"/>
                <a:gd name="connsiteY7" fmla="*/ 0 h 205482"/>
                <a:gd name="connsiteX8" fmla="*/ 143298 w 1738503"/>
                <a:gd name="connsiteY8" fmla="*/ 1132 h 205482"/>
                <a:gd name="connsiteX9" fmla="*/ 28290 w 1738503"/>
                <a:gd name="connsiteY9" fmla="*/ 54058 h 205482"/>
                <a:gd name="connsiteX10" fmla="*/ 1 w 1738503"/>
                <a:gd name="connsiteY10" fmla="*/ 160991 h 205482"/>
                <a:gd name="connsiteX11" fmla="*/ 1 w 1738503"/>
                <a:gd name="connsiteY11" fmla="*/ 205174 h 205482"/>
                <a:gd name="connsiteX12" fmla="*/ 157546 w 1738503"/>
                <a:gd name="connsiteY12" fmla="*/ 37908 h 205482"/>
                <a:gd name="connsiteX13" fmla="*/ 158472 w 1738503"/>
                <a:gd name="connsiteY13" fmla="*/ 37908 h 205482"/>
                <a:gd name="connsiteX14" fmla="*/ 159706 w 1738503"/>
                <a:gd name="connsiteY14" fmla="*/ 37908 h 205482"/>
                <a:gd name="connsiteX15" fmla="*/ 167627 w 1738503"/>
                <a:gd name="connsiteY15" fmla="*/ 37908 h 205482"/>
                <a:gd name="connsiteX16" fmla="*/ 1533175 w 1738503"/>
                <a:gd name="connsiteY16" fmla="*/ 37908 h 205482"/>
                <a:gd name="connsiteX17" fmla="*/ 1540324 w 1738503"/>
                <a:gd name="connsiteY17" fmla="*/ 37908 h 205482"/>
                <a:gd name="connsiteX18" fmla="*/ 1540324 w 1738503"/>
                <a:gd name="connsiteY18" fmla="*/ 37908 h 205482"/>
                <a:gd name="connsiteX19" fmla="*/ 1542022 w 1738503"/>
                <a:gd name="connsiteY19" fmla="*/ 37908 h 205482"/>
                <a:gd name="connsiteX20" fmla="*/ 1700545 w 1738503"/>
                <a:gd name="connsiteY20" fmla="*/ 198282 h 205482"/>
                <a:gd name="connsiteX21" fmla="*/ 1700545 w 1738503"/>
                <a:gd name="connsiteY21" fmla="*/ 161352 h 205482"/>
                <a:gd name="connsiteX22" fmla="*/ 1672255 w 1738503"/>
                <a:gd name="connsiteY22" fmla="*/ 54418 h 205482"/>
                <a:gd name="connsiteX23" fmla="*/ 1738504 w 1738503"/>
                <a:gd name="connsiteY23" fmla="*/ 205483 h 20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38503" h="205482">
                  <a:moveTo>
                    <a:pt x="1738504" y="205483"/>
                  </a:moveTo>
                  <a:lnTo>
                    <a:pt x="1738504" y="205174"/>
                  </a:lnTo>
                  <a:cubicBezTo>
                    <a:pt x="1738598" y="95893"/>
                    <a:pt x="1653058" y="5695"/>
                    <a:pt x="1543925" y="0"/>
                  </a:cubicBezTo>
                  <a:lnTo>
                    <a:pt x="1543565" y="0"/>
                  </a:lnTo>
                  <a:cubicBezTo>
                    <a:pt x="1540119" y="0"/>
                    <a:pt x="1536570" y="0"/>
                    <a:pt x="1533021" y="0"/>
                  </a:cubicBezTo>
                  <a:lnTo>
                    <a:pt x="167627" y="0"/>
                  </a:lnTo>
                  <a:cubicBezTo>
                    <a:pt x="164027" y="0"/>
                    <a:pt x="160478" y="0"/>
                    <a:pt x="157032" y="0"/>
                  </a:cubicBezTo>
                  <a:lnTo>
                    <a:pt x="156466" y="0"/>
                  </a:lnTo>
                  <a:cubicBezTo>
                    <a:pt x="151991" y="0"/>
                    <a:pt x="147670" y="617"/>
                    <a:pt x="143298" y="1132"/>
                  </a:cubicBezTo>
                  <a:cubicBezTo>
                    <a:pt x="100325" y="6151"/>
                    <a:pt x="60055" y="24683"/>
                    <a:pt x="28290" y="54058"/>
                  </a:cubicBezTo>
                  <a:cubicBezTo>
                    <a:pt x="9666" y="86613"/>
                    <a:pt x="-88" y="123486"/>
                    <a:pt x="1" y="160991"/>
                  </a:cubicBezTo>
                  <a:lnTo>
                    <a:pt x="1" y="205174"/>
                  </a:lnTo>
                  <a:cubicBezTo>
                    <a:pt x="-46" y="116503"/>
                    <a:pt x="69031" y="43164"/>
                    <a:pt x="157546" y="37908"/>
                  </a:cubicBezTo>
                  <a:lnTo>
                    <a:pt x="158472" y="37908"/>
                  </a:lnTo>
                  <a:lnTo>
                    <a:pt x="159706" y="37908"/>
                  </a:lnTo>
                  <a:lnTo>
                    <a:pt x="167627" y="37908"/>
                  </a:lnTo>
                  <a:lnTo>
                    <a:pt x="1533175" y="37908"/>
                  </a:lnTo>
                  <a:lnTo>
                    <a:pt x="1540324" y="37908"/>
                  </a:lnTo>
                  <a:lnTo>
                    <a:pt x="1540324" y="37908"/>
                  </a:lnTo>
                  <a:lnTo>
                    <a:pt x="1542022" y="37908"/>
                  </a:lnTo>
                  <a:cubicBezTo>
                    <a:pt x="1628339" y="42430"/>
                    <a:pt x="1697025" y="111918"/>
                    <a:pt x="1700545" y="198282"/>
                  </a:cubicBezTo>
                  <a:lnTo>
                    <a:pt x="1700545" y="161352"/>
                  </a:lnTo>
                  <a:cubicBezTo>
                    <a:pt x="1700622" y="123848"/>
                    <a:pt x="1690868" y="86978"/>
                    <a:pt x="1672255" y="54418"/>
                  </a:cubicBezTo>
                  <a:cubicBezTo>
                    <a:pt x="1714504" y="93284"/>
                    <a:pt x="1738533" y="148076"/>
                    <a:pt x="1738504" y="205483"/>
                  </a:cubicBezTo>
                  <a:close/>
                </a:path>
              </a:pathLst>
            </a:custGeom>
            <a:gradFill>
              <a:gsLst>
                <a:gs pos="0">
                  <a:srgbClr val="1A1A1A"/>
                </a:gs>
                <a:gs pos="12000">
                  <a:srgbClr val="454545"/>
                </a:gs>
                <a:gs pos="23000">
                  <a:srgbClr val="666666"/>
                </a:gs>
                <a:gs pos="34000">
                  <a:srgbClr val="7E7E7E"/>
                </a:gs>
                <a:gs pos="44000">
                  <a:srgbClr val="8D8D8D"/>
                </a:gs>
                <a:gs pos="52000">
                  <a:srgbClr val="929292"/>
                </a:gs>
                <a:gs pos="59000">
                  <a:srgbClr val="8B8B8B"/>
                </a:gs>
                <a:gs pos="70000">
                  <a:srgbClr val="767676"/>
                </a:gs>
                <a:gs pos="82000">
                  <a:srgbClr val="545454"/>
                </a:gs>
                <a:gs pos="97000">
                  <a:srgbClr val="252525"/>
                </a:gs>
                <a:gs pos="100000">
                  <a:srgbClr val="1A1A1A"/>
                </a:gs>
              </a:gsLst>
              <a:lin ang="0" scaled="1"/>
            </a:gradFill>
            <a:ln w="5144" cap="flat">
              <a:noFill/>
              <a:prstDash val="solid"/>
              <a:miter/>
            </a:ln>
          </p:spPr>
          <p:txBody>
            <a:bodyPr rtlCol="0" anchor="ctr"/>
            <a:lstStyle/>
            <a:p>
              <a:endParaRPr lang="de-DE" sz="3333"/>
            </a:p>
          </p:txBody>
        </p:sp>
        <p:sp>
          <p:nvSpPr>
            <p:cNvPr id="63" name="Freeform 62">
              <a:extLst>
                <a:ext uri="{FF2B5EF4-FFF2-40B4-BE49-F238E27FC236}">
                  <a16:creationId xmlns:a16="http://schemas.microsoft.com/office/drawing/2014/main" id="{42C80F92-C2BC-4C70-CBFD-E734162CC7BB}"/>
                </a:ext>
              </a:extLst>
            </p:cNvPr>
            <p:cNvSpPr/>
            <p:nvPr/>
          </p:nvSpPr>
          <p:spPr>
            <a:xfrm>
              <a:off x="3683717" y="783046"/>
              <a:ext cx="66402" cy="3577355"/>
            </a:xfrm>
            <a:custGeom>
              <a:avLst/>
              <a:gdLst>
                <a:gd name="connsiteX0" fmla="*/ 66403 w 66402"/>
                <a:gd name="connsiteY0" fmla="*/ 3577356 h 3577355"/>
                <a:gd name="connsiteX1" fmla="*/ 0 w 66402"/>
                <a:gd name="connsiteY1" fmla="*/ 3426600 h 3577355"/>
                <a:gd name="connsiteX2" fmla="*/ 0 w 66402"/>
                <a:gd name="connsiteY2" fmla="*/ 151167 h 3577355"/>
                <a:gd name="connsiteX3" fmla="*/ 66197 w 66402"/>
                <a:gd name="connsiteY3" fmla="*/ 0 h 3577355"/>
                <a:gd name="connsiteX4" fmla="*/ 37908 w 66402"/>
                <a:gd name="connsiteY4" fmla="*/ 106933 h 3577355"/>
                <a:gd name="connsiteX5" fmla="*/ 37908 w 66402"/>
                <a:gd name="connsiteY5" fmla="*/ 3470628 h 3577355"/>
                <a:gd name="connsiteX6" fmla="*/ 66403 w 66402"/>
                <a:gd name="connsiteY6" fmla="*/ 357735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02" h="3577355">
                  <a:moveTo>
                    <a:pt x="66403" y="3577356"/>
                  </a:moveTo>
                  <a:cubicBezTo>
                    <a:pt x="24239" y="3538545"/>
                    <a:pt x="172" y="3483907"/>
                    <a:pt x="0" y="3426600"/>
                  </a:cubicBezTo>
                  <a:lnTo>
                    <a:pt x="0" y="151167"/>
                  </a:lnTo>
                  <a:cubicBezTo>
                    <a:pt x="-58" y="93736"/>
                    <a:pt x="23951" y="38907"/>
                    <a:pt x="66197" y="0"/>
                  </a:cubicBezTo>
                  <a:cubicBezTo>
                    <a:pt x="47585" y="32560"/>
                    <a:pt x="37831" y="69429"/>
                    <a:pt x="37908" y="106933"/>
                  </a:cubicBezTo>
                  <a:lnTo>
                    <a:pt x="37908" y="3470628"/>
                  </a:lnTo>
                  <a:cubicBezTo>
                    <a:pt x="37865" y="3508090"/>
                    <a:pt x="47693" y="3544901"/>
                    <a:pt x="66403" y="3577356"/>
                  </a:cubicBezTo>
                  <a:close/>
                </a:path>
              </a:pathLst>
            </a:custGeom>
            <a:gradFill>
              <a:gsLst>
                <a:gs pos="0">
                  <a:srgbClr val="C8C8C8"/>
                </a:gs>
                <a:gs pos="21000">
                  <a:srgbClr val="A0A0A0"/>
                </a:gs>
                <a:gs pos="59000">
                  <a:srgbClr val="5D5D5D"/>
                </a:gs>
                <a:gs pos="86000">
                  <a:srgbClr val="343434"/>
                </a:gs>
                <a:gs pos="100000">
                  <a:srgbClr val="242424"/>
                </a:gs>
              </a:gsLst>
              <a:lin ang="0" scaled="1"/>
            </a:gradFill>
            <a:ln w="5144" cap="flat">
              <a:noFill/>
              <a:prstDash val="solid"/>
              <a:miter/>
            </a:ln>
          </p:spPr>
          <p:txBody>
            <a:bodyPr rtlCol="0" anchor="ctr"/>
            <a:lstStyle/>
            <a:p>
              <a:endParaRPr lang="de-DE" sz="3333"/>
            </a:p>
          </p:txBody>
        </p:sp>
        <p:sp>
          <p:nvSpPr>
            <p:cNvPr id="64" name="Freeform 63">
              <a:extLst>
                <a:ext uri="{FF2B5EF4-FFF2-40B4-BE49-F238E27FC236}">
                  <a16:creationId xmlns:a16="http://schemas.microsoft.com/office/drawing/2014/main" id="{3F6632D6-3329-D3CB-5943-07219646135B}"/>
                </a:ext>
              </a:extLst>
            </p:cNvPr>
            <p:cNvSpPr/>
            <p:nvPr/>
          </p:nvSpPr>
          <p:spPr>
            <a:xfrm>
              <a:off x="5393571" y="784383"/>
              <a:ext cx="66659" cy="3577355"/>
            </a:xfrm>
            <a:custGeom>
              <a:avLst/>
              <a:gdLst>
                <a:gd name="connsiteX0" fmla="*/ 66660 w 66659"/>
                <a:gd name="connsiteY0" fmla="*/ 151116 h 3577355"/>
                <a:gd name="connsiteX1" fmla="*/ 66660 w 66659"/>
                <a:gd name="connsiteY1" fmla="*/ 3426600 h 3577355"/>
                <a:gd name="connsiteX2" fmla="*/ 39811 w 66659"/>
                <a:gd name="connsiteY2" fmla="*/ 3527567 h 3577355"/>
                <a:gd name="connsiteX3" fmla="*/ 34667 w 66659"/>
                <a:gd name="connsiteY3" fmla="*/ 3535693 h 3577355"/>
                <a:gd name="connsiteX4" fmla="*/ 26695 w 66659"/>
                <a:gd name="connsiteY4" fmla="*/ 3547318 h 3577355"/>
                <a:gd name="connsiteX5" fmla="*/ 51 w 66659"/>
                <a:gd name="connsiteY5" fmla="*/ 3577356 h 3577355"/>
                <a:gd name="connsiteX6" fmla="*/ 51 w 66659"/>
                <a:gd name="connsiteY6" fmla="*/ 3576996 h 3577355"/>
                <a:gd name="connsiteX7" fmla="*/ 28289 w 66659"/>
                <a:gd name="connsiteY7" fmla="*/ 3470782 h 3577355"/>
                <a:gd name="connsiteX8" fmla="*/ 28289 w 66659"/>
                <a:gd name="connsiteY8" fmla="*/ 106933 h 3577355"/>
                <a:gd name="connsiteX9" fmla="*/ 0 w 66659"/>
                <a:gd name="connsiteY9" fmla="*/ 0 h 3577355"/>
                <a:gd name="connsiteX10" fmla="*/ 66660 w 66659"/>
                <a:gd name="connsiteY10" fmla="*/ 151116 h 35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59" h="3577355">
                  <a:moveTo>
                    <a:pt x="66660" y="151116"/>
                  </a:moveTo>
                  <a:lnTo>
                    <a:pt x="66660" y="3426600"/>
                  </a:lnTo>
                  <a:cubicBezTo>
                    <a:pt x="66639" y="3462017"/>
                    <a:pt x="57384" y="3496817"/>
                    <a:pt x="39811" y="3527567"/>
                  </a:cubicBezTo>
                  <a:cubicBezTo>
                    <a:pt x="38216" y="3530344"/>
                    <a:pt x="36571" y="3533019"/>
                    <a:pt x="34667" y="3535693"/>
                  </a:cubicBezTo>
                  <a:cubicBezTo>
                    <a:pt x="32198" y="3539654"/>
                    <a:pt x="29524" y="3543563"/>
                    <a:pt x="26695" y="3547318"/>
                  </a:cubicBezTo>
                  <a:cubicBezTo>
                    <a:pt x="18816" y="3558177"/>
                    <a:pt x="9892" y="3568237"/>
                    <a:pt x="51" y="3577356"/>
                  </a:cubicBezTo>
                  <a:lnTo>
                    <a:pt x="51" y="3576996"/>
                  </a:lnTo>
                  <a:cubicBezTo>
                    <a:pt x="18569" y="3544661"/>
                    <a:pt x="28304" y="3508044"/>
                    <a:pt x="28289" y="3470782"/>
                  </a:cubicBezTo>
                  <a:lnTo>
                    <a:pt x="28289" y="106933"/>
                  </a:lnTo>
                  <a:cubicBezTo>
                    <a:pt x="28366" y="69429"/>
                    <a:pt x="18612" y="32560"/>
                    <a:pt x="0" y="0"/>
                  </a:cubicBezTo>
                  <a:cubicBezTo>
                    <a:pt x="42414" y="38806"/>
                    <a:pt x="66597" y="93629"/>
                    <a:pt x="66660" y="151116"/>
                  </a:cubicBezTo>
                  <a:close/>
                </a:path>
              </a:pathLst>
            </a:custGeom>
            <a:gradFill>
              <a:gsLst>
                <a:gs pos="0">
                  <a:srgbClr val="242424"/>
                </a:gs>
                <a:gs pos="14000">
                  <a:srgbClr val="343434"/>
                </a:gs>
                <a:gs pos="41000">
                  <a:srgbClr val="5D5D5D"/>
                </a:gs>
                <a:gs pos="79000">
                  <a:srgbClr val="A0A0A0"/>
                </a:gs>
                <a:gs pos="100000">
                  <a:srgbClr val="C8C8C8"/>
                </a:gs>
              </a:gsLst>
              <a:lin ang="0" scaled="1"/>
            </a:gradFill>
            <a:ln w="5144" cap="flat">
              <a:noFill/>
              <a:prstDash val="solid"/>
              <a:miter/>
            </a:ln>
          </p:spPr>
          <p:txBody>
            <a:bodyPr rtlCol="0" anchor="ctr"/>
            <a:lstStyle/>
            <a:p>
              <a:endParaRPr lang="de-DE" sz="3333"/>
            </a:p>
          </p:txBody>
        </p:sp>
        <p:sp>
          <p:nvSpPr>
            <p:cNvPr id="65" name="Freeform 64">
              <a:extLst>
                <a:ext uri="{FF2B5EF4-FFF2-40B4-BE49-F238E27FC236}">
                  <a16:creationId xmlns:a16="http://schemas.microsoft.com/office/drawing/2014/main" id="{2023D9C0-2756-7399-A9B2-F54369B82F1A}"/>
                </a:ext>
              </a:extLst>
            </p:cNvPr>
            <p:cNvSpPr/>
            <p:nvPr/>
          </p:nvSpPr>
          <p:spPr>
            <a:xfrm>
              <a:off x="4457299" y="812107"/>
              <a:ext cx="217930" cy="22888"/>
            </a:xfrm>
            <a:custGeom>
              <a:avLst/>
              <a:gdLst>
                <a:gd name="connsiteX0" fmla="*/ 208826 w 217930"/>
                <a:gd name="connsiteY0" fmla="*/ 0 h 22888"/>
                <a:gd name="connsiteX1" fmla="*/ 217930 w 217930"/>
                <a:gd name="connsiteY1" fmla="*/ 0 h 22888"/>
                <a:gd name="connsiteX2" fmla="*/ 217930 w 217930"/>
                <a:gd name="connsiteY2" fmla="*/ 22889 h 22888"/>
                <a:gd name="connsiteX3" fmla="*/ 208826 w 217930"/>
                <a:gd name="connsiteY3" fmla="*/ 22889 h 22888"/>
                <a:gd name="connsiteX4" fmla="*/ 9104 w 217930"/>
                <a:gd name="connsiteY4" fmla="*/ 22889 h 22888"/>
                <a:gd name="connsiteX5" fmla="*/ 0 w 217930"/>
                <a:gd name="connsiteY5" fmla="*/ 22889 h 22888"/>
                <a:gd name="connsiteX6" fmla="*/ 0 w 217930"/>
                <a:gd name="connsiteY6" fmla="*/ 0 h 22888"/>
                <a:gd name="connsiteX7" fmla="*/ 9104 w 217930"/>
                <a:gd name="connsiteY7" fmla="*/ 0 h 2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930" h="22888">
                  <a:moveTo>
                    <a:pt x="208826" y="0"/>
                  </a:moveTo>
                  <a:cubicBezTo>
                    <a:pt x="213854" y="0"/>
                    <a:pt x="217930" y="0"/>
                    <a:pt x="217930" y="0"/>
                  </a:cubicBezTo>
                  <a:lnTo>
                    <a:pt x="217930" y="22889"/>
                  </a:lnTo>
                  <a:cubicBezTo>
                    <a:pt x="217930" y="22889"/>
                    <a:pt x="213854" y="22889"/>
                    <a:pt x="208826" y="22889"/>
                  </a:cubicBezTo>
                  <a:lnTo>
                    <a:pt x="9104" y="22889"/>
                  </a:lnTo>
                  <a:cubicBezTo>
                    <a:pt x="4076" y="22889"/>
                    <a:pt x="0" y="22889"/>
                    <a:pt x="0" y="22889"/>
                  </a:cubicBezTo>
                  <a:lnTo>
                    <a:pt x="0" y="0"/>
                  </a:lnTo>
                  <a:cubicBezTo>
                    <a:pt x="0" y="0"/>
                    <a:pt x="4076" y="0"/>
                    <a:pt x="9104" y="0"/>
                  </a:cubicBezTo>
                  <a:close/>
                </a:path>
              </a:pathLst>
            </a:custGeom>
            <a:gradFill>
              <a:gsLst>
                <a:gs pos="0">
                  <a:srgbClr val="333333"/>
                </a:gs>
                <a:gs pos="9000">
                  <a:srgbClr val="2B2B2B"/>
                </a:gs>
                <a:gs pos="29000">
                  <a:srgbClr val="1E1E1E"/>
                </a:gs>
                <a:gs pos="48000">
                  <a:srgbClr val="1A1A1A"/>
                </a:gs>
                <a:gs pos="79000">
                  <a:srgbClr val="1C1C1C"/>
                </a:gs>
                <a:gs pos="90000">
                  <a:srgbClr val="232323"/>
                </a:gs>
                <a:gs pos="98000">
                  <a:srgbClr val="2E2E2E"/>
                </a:gs>
                <a:gs pos="100000">
                  <a:srgbClr val="333333"/>
                </a:gs>
              </a:gsLst>
              <a:lin ang="0" scaled="1"/>
            </a:gradFill>
            <a:ln w="5144" cap="flat">
              <a:noFill/>
              <a:prstDash val="solid"/>
              <a:miter/>
            </a:ln>
          </p:spPr>
          <p:txBody>
            <a:bodyPr rtlCol="0" anchor="ctr"/>
            <a:lstStyle/>
            <a:p>
              <a:endParaRPr lang="de-DE" sz="3333"/>
            </a:p>
          </p:txBody>
        </p:sp>
      </p:grpSp>
      <p:sp>
        <p:nvSpPr>
          <p:cNvPr id="66" name="Vrije vorm: vorm 1">
            <a:extLst>
              <a:ext uri="{FF2B5EF4-FFF2-40B4-BE49-F238E27FC236}">
                <a16:creationId xmlns:a16="http://schemas.microsoft.com/office/drawing/2014/main" id="{5295467F-684E-38F1-5664-61F69A0C00D4}"/>
              </a:ext>
            </a:extLst>
          </p:cNvPr>
          <p:cNvSpPr>
            <a:spLocks noGrp="1"/>
          </p:cNvSpPr>
          <p:nvPr>
            <p:ph type="pic" sz="quarter" idx="67" hasCustomPrompt="1"/>
          </p:nvPr>
        </p:nvSpPr>
        <p:spPr>
          <a:xfrm>
            <a:off x="1459215" y="852818"/>
            <a:ext cx="2473392" cy="5354963"/>
          </a:xfrm>
          <a:custGeom>
            <a:avLst/>
            <a:gdLst>
              <a:gd name="connsiteX0" fmla="*/ 144527 w 1855044"/>
              <a:gd name="connsiteY0" fmla="*/ 0 h 4016222"/>
              <a:gd name="connsiteX1" fmla="*/ 145924 w 1855044"/>
              <a:gd name="connsiteY1" fmla="*/ 0 h 4016222"/>
              <a:gd name="connsiteX2" fmla="*/ 148019 w 1855044"/>
              <a:gd name="connsiteY2" fmla="*/ 0 h 4016222"/>
              <a:gd name="connsiteX3" fmla="*/ 154829 w 1855044"/>
              <a:gd name="connsiteY3" fmla="*/ 0 h 4016222"/>
              <a:gd name="connsiteX4" fmla="*/ 377935 w 1855044"/>
              <a:gd name="connsiteY4" fmla="*/ 0 h 4016222"/>
              <a:gd name="connsiteX5" fmla="*/ 402266 w 1855044"/>
              <a:gd name="connsiteY5" fmla="*/ 23284 h 4016222"/>
              <a:gd name="connsiteX6" fmla="*/ 402266 w 1855044"/>
              <a:gd name="connsiteY6" fmla="*/ 25904 h 4016222"/>
              <a:gd name="connsiteX7" fmla="*/ 402266 w 1855044"/>
              <a:gd name="connsiteY7" fmla="*/ 26253 h 4016222"/>
              <a:gd name="connsiteX8" fmla="*/ 525314 w 1855044"/>
              <a:gd name="connsiteY8" fmla="*/ 143607 h 4016222"/>
              <a:gd name="connsiteX9" fmla="*/ 1329846 w 1855044"/>
              <a:gd name="connsiteY9" fmla="*/ 143607 h 4016222"/>
              <a:gd name="connsiteX10" fmla="*/ 1452895 w 1855044"/>
              <a:gd name="connsiteY10" fmla="*/ 26253 h 4016222"/>
              <a:gd name="connsiteX11" fmla="*/ 1452895 w 1855044"/>
              <a:gd name="connsiteY11" fmla="*/ 25904 h 4016222"/>
              <a:gd name="connsiteX12" fmla="*/ 1452895 w 1855044"/>
              <a:gd name="connsiteY12" fmla="*/ 23284 h 4016222"/>
              <a:gd name="connsiteX13" fmla="*/ 1477225 w 1855044"/>
              <a:gd name="connsiteY13" fmla="*/ 0 h 4016222"/>
              <a:gd name="connsiteX14" fmla="*/ 1700214 w 1855044"/>
              <a:gd name="connsiteY14" fmla="*/ 0 h 4016222"/>
              <a:gd name="connsiteX15" fmla="*/ 1707025 w 1855044"/>
              <a:gd name="connsiteY15" fmla="*/ 0 h 4016222"/>
              <a:gd name="connsiteX16" fmla="*/ 1709121 w 1855044"/>
              <a:gd name="connsiteY16" fmla="*/ 0 h 4016222"/>
              <a:gd name="connsiteX17" fmla="*/ 1710517 w 1855044"/>
              <a:gd name="connsiteY17" fmla="*/ 0 h 4016222"/>
              <a:gd name="connsiteX18" fmla="*/ 1855044 w 1855044"/>
              <a:gd name="connsiteY18" fmla="*/ 154726 h 4016222"/>
              <a:gd name="connsiteX19" fmla="*/ 1855044 w 1855044"/>
              <a:gd name="connsiteY19" fmla="*/ 3861904 h 4016222"/>
              <a:gd name="connsiteX20" fmla="*/ 1712554 w 1855044"/>
              <a:gd name="connsiteY20" fmla="*/ 4016222 h 4016222"/>
              <a:gd name="connsiteX21" fmla="*/ 1710459 w 1855044"/>
              <a:gd name="connsiteY21" fmla="*/ 4016222 h 4016222"/>
              <a:gd name="connsiteX22" fmla="*/ 1708247 w 1855044"/>
              <a:gd name="connsiteY22" fmla="*/ 4016222 h 4016222"/>
              <a:gd name="connsiteX23" fmla="*/ 1700214 w 1855044"/>
              <a:gd name="connsiteY23" fmla="*/ 4016222 h 4016222"/>
              <a:gd name="connsiteX24" fmla="*/ 154829 w 1855044"/>
              <a:gd name="connsiteY24" fmla="*/ 4016222 h 4016222"/>
              <a:gd name="connsiteX25" fmla="*/ 146797 w 1855044"/>
              <a:gd name="connsiteY25" fmla="*/ 4016222 h 4016222"/>
              <a:gd name="connsiteX26" fmla="*/ 144585 w 1855044"/>
              <a:gd name="connsiteY26" fmla="*/ 4016222 h 4016222"/>
              <a:gd name="connsiteX27" fmla="*/ 142489 w 1855044"/>
              <a:gd name="connsiteY27" fmla="*/ 4016222 h 4016222"/>
              <a:gd name="connsiteX28" fmla="*/ 0 w 1855044"/>
              <a:gd name="connsiteY28" fmla="*/ 3861904 h 4016222"/>
              <a:gd name="connsiteX29" fmla="*/ 0 w 1855044"/>
              <a:gd name="connsiteY29" fmla="*/ 154492 h 4016222"/>
              <a:gd name="connsiteX30" fmla="*/ 144527 w 1855044"/>
              <a:gd name="connsiteY30" fmla="*/ 0 h 401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55044" h="4016222">
                <a:moveTo>
                  <a:pt x="144527" y="0"/>
                </a:moveTo>
                <a:lnTo>
                  <a:pt x="145924" y="0"/>
                </a:lnTo>
                <a:lnTo>
                  <a:pt x="148019" y="0"/>
                </a:lnTo>
                <a:cubicBezTo>
                  <a:pt x="150464" y="0"/>
                  <a:pt x="152734" y="0"/>
                  <a:pt x="154829" y="0"/>
                </a:cubicBezTo>
                <a:lnTo>
                  <a:pt x="377935" y="0"/>
                </a:lnTo>
                <a:cubicBezTo>
                  <a:pt x="390706" y="640"/>
                  <a:pt x="401066" y="10554"/>
                  <a:pt x="402266" y="23284"/>
                </a:cubicBezTo>
                <a:cubicBezTo>
                  <a:pt x="402266" y="24158"/>
                  <a:pt x="402266" y="24973"/>
                  <a:pt x="402266" y="25904"/>
                </a:cubicBezTo>
                <a:lnTo>
                  <a:pt x="402266" y="26253"/>
                </a:lnTo>
                <a:cubicBezTo>
                  <a:pt x="405374" y="91951"/>
                  <a:pt x="459547" y="143619"/>
                  <a:pt x="525314" y="143607"/>
                </a:cubicBezTo>
                <a:lnTo>
                  <a:pt x="1329846" y="143607"/>
                </a:lnTo>
                <a:cubicBezTo>
                  <a:pt x="1395613" y="143619"/>
                  <a:pt x="1449787" y="91951"/>
                  <a:pt x="1452895" y="26253"/>
                </a:cubicBezTo>
                <a:lnTo>
                  <a:pt x="1452895" y="25904"/>
                </a:lnTo>
                <a:cubicBezTo>
                  <a:pt x="1452895" y="24973"/>
                  <a:pt x="1452895" y="24158"/>
                  <a:pt x="1452895" y="23284"/>
                </a:cubicBezTo>
                <a:cubicBezTo>
                  <a:pt x="1454094" y="10554"/>
                  <a:pt x="1464455" y="640"/>
                  <a:pt x="1477225" y="0"/>
                </a:cubicBezTo>
                <a:lnTo>
                  <a:pt x="1700214" y="0"/>
                </a:lnTo>
                <a:cubicBezTo>
                  <a:pt x="1702310" y="0"/>
                  <a:pt x="1704580" y="0"/>
                  <a:pt x="1707025" y="0"/>
                </a:cubicBezTo>
                <a:lnTo>
                  <a:pt x="1709121" y="0"/>
                </a:lnTo>
                <a:lnTo>
                  <a:pt x="1710517" y="0"/>
                </a:lnTo>
                <a:cubicBezTo>
                  <a:pt x="1791936" y="5431"/>
                  <a:pt x="1855167" y="73119"/>
                  <a:pt x="1855044" y="154726"/>
                </a:cubicBezTo>
                <a:lnTo>
                  <a:pt x="1855044" y="3861904"/>
                </a:lnTo>
                <a:cubicBezTo>
                  <a:pt x="1854695" y="3942491"/>
                  <a:pt x="1792856" y="4009469"/>
                  <a:pt x="1712554" y="4016222"/>
                </a:cubicBezTo>
                <a:lnTo>
                  <a:pt x="1710459" y="4016222"/>
                </a:lnTo>
                <a:lnTo>
                  <a:pt x="1708247" y="4016222"/>
                </a:lnTo>
                <a:cubicBezTo>
                  <a:pt x="1705569" y="4016222"/>
                  <a:pt x="1702892" y="4016222"/>
                  <a:pt x="1700214" y="4016222"/>
                </a:cubicBezTo>
                <a:lnTo>
                  <a:pt x="154829" y="4016222"/>
                </a:lnTo>
                <a:cubicBezTo>
                  <a:pt x="152152" y="4016222"/>
                  <a:pt x="149475" y="4016222"/>
                  <a:pt x="146797" y="4016222"/>
                </a:cubicBezTo>
                <a:lnTo>
                  <a:pt x="144585" y="4016222"/>
                </a:lnTo>
                <a:lnTo>
                  <a:pt x="142489" y="4016222"/>
                </a:lnTo>
                <a:cubicBezTo>
                  <a:pt x="62188" y="4009469"/>
                  <a:pt x="350" y="3942491"/>
                  <a:pt x="0" y="3861904"/>
                </a:cubicBezTo>
                <a:lnTo>
                  <a:pt x="0" y="154492"/>
                </a:lnTo>
                <a:cubicBezTo>
                  <a:pt x="6" y="72979"/>
                  <a:pt x="63201" y="5426"/>
                  <a:pt x="144527" y="0"/>
                </a:cubicBezTo>
                <a:close/>
              </a:path>
            </a:pathLst>
          </a:custGeom>
          <a:solidFill>
            <a:schemeClr val="tx1"/>
          </a:solidFill>
        </p:spPr>
        <p:txBody>
          <a:bodyPr wrap="square" lIns="360000" tIns="360000" rIns="360000" bIns="360000">
            <a:noAutofit/>
          </a:bodyPr>
          <a:lstStyle>
            <a:lvl1pPr marL="0" indent="0">
              <a:buNone/>
              <a:defRPr sz="2133">
                <a:solidFill>
                  <a:schemeClr val="tx2"/>
                </a:solidFill>
              </a:defRPr>
            </a:lvl1pPr>
          </a:lstStyle>
          <a:p>
            <a:r>
              <a:rPr lang="nl-NL"/>
              <a:t>Afbeelding plaatsen</a:t>
            </a:r>
            <a:endParaRPr lang="de-DE"/>
          </a:p>
        </p:txBody>
      </p:sp>
      <p:sp>
        <p:nvSpPr>
          <p:cNvPr id="8" name="Текст 7">
            <a:extLst>
              <a:ext uri="{FF2B5EF4-FFF2-40B4-BE49-F238E27FC236}">
                <a16:creationId xmlns:a16="http://schemas.microsoft.com/office/drawing/2014/main" id="{827A41E1-CF0B-696D-7325-C9FB24F920FC}"/>
              </a:ext>
            </a:extLst>
          </p:cNvPr>
          <p:cNvSpPr>
            <a:spLocks noGrp="1"/>
          </p:cNvSpPr>
          <p:nvPr>
            <p:ph type="body" sz="quarter" idx="64" hasCustomPrompt="1"/>
          </p:nvPr>
        </p:nvSpPr>
        <p:spPr>
          <a:xfrm>
            <a:off x="5803900" y="3716338"/>
            <a:ext cx="5421304" cy="2246312"/>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98312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4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5BDEF7-1787-B26F-4199-C4E520EEDD87}"/>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5" name="Vrije vorm: vorm 4">
            <a:extLst>
              <a:ext uri="{FF2B5EF4-FFF2-40B4-BE49-F238E27FC236}">
                <a16:creationId xmlns:a16="http://schemas.microsoft.com/office/drawing/2014/main" id="{CA06869B-1D6A-64B0-2C1B-BD25BE66AFDF}"/>
              </a:ext>
            </a:extLst>
          </p:cNvPr>
          <p:cNvSpPr/>
          <p:nvPr userDrawn="1"/>
        </p:nvSpPr>
        <p:spPr>
          <a:xfrm rot="18402013">
            <a:off x="7059109" y="-2414483"/>
            <a:ext cx="5161083" cy="7461093"/>
          </a:xfrm>
          <a:custGeom>
            <a:avLst/>
            <a:gdLst>
              <a:gd name="connsiteX0" fmla="*/ 1080973 w 3870812"/>
              <a:gd name="connsiteY0" fmla="*/ 0 h 5595820"/>
              <a:gd name="connsiteX1" fmla="*/ 3870812 w 3870812"/>
              <a:gd name="connsiteY1" fmla="*/ 3742827 h 5595820"/>
              <a:gd name="connsiteX2" fmla="*/ 1384851 w 3870812"/>
              <a:gd name="connsiteY2" fmla="*/ 5595820 h 5595820"/>
              <a:gd name="connsiteX3" fmla="*/ 1260407 w 3870812"/>
              <a:gd name="connsiteY3" fmla="*/ 5488591 h 5595820"/>
              <a:gd name="connsiteX4" fmla="*/ 0 w 3870812"/>
              <a:gd name="connsiteY4" fmla="*/ 2655861 h 5595820"/>
              <a:gd name="connsiteX5" fmla="*/ 878498 w 3870812"/>
              <a:gd name="connsiteY5" fmla="*/ 221607 h 559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0812" h="5595820">
                <a:moveTo>
                  <a:pt x="1080973" y="0"/>
                </a:moveTo>
                <a:lnTo>
                  <a:pt x="3870812" y="3742827"/>
                </a:lnTo>
                <a:lnTo>
                  <a:pt x="1384851" y="5595820"/>
                </a:lnTo>
                <a:lnTo>
                  <a:pt x="1260407" y="5488591"/>
                </a:lnTo>
                <a:cubicBezTo>
                  <a:pt x="486112" y="4788546"/>
                  <a:pt x="0" y="3778674"/>
                  <a:pt x="0" y="2655861"/>
                </a:cubicBezTo>
                <a:cubicBezTo>
                  <a:pt x="0" y="1731192"/>
                  <a:pt x="329682" y="883118"/>
                  <a:pt x="878498" y="221607"/>
                </a:cubicBezTo>
                <a:close/>
              </a:path>
            </a:pathLst>
          </a:custGeom>
          <a:gradFill flip="none" rotWithShape="1">
            <a:gsLst>
              <a:gs pos="100000">
                <a:schemeClr val="tx2">
                  <a:lumMod val="85000"/>
                </a:schemeClr>
              </a:gs>
              <a:gs pos="17000">
                <a:schemeClr val="tx2"/>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41"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25" name="Picture Placeholder 19"/>
          <p:cNvSpPr>
            <a:spLocks noGrp="1"/>
          </p:cNvSpPr>
          <p:nvPr>
            <p:ph type="pic" sz="quarter" idx="64" hasCustomPrompt="1"/>
          </p:nvPr>
        </p:nvSpPr>
        <p:spPr>
          <a:xfrm>
            <a:off x="6246014" y="1688211"/>
            <a:ext cx="2972055" cy="295641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2795863" y="1698992"/>
            <a:ext cx="2961216" cy="2945629"/>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018603"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008036" y="5341914"/>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497196"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497196" y="5339053"/>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4" name="Slide Number Placeholder 1">
            <a:extLst>
              <a:ext uri="{FF2B5EF4-FFF2-40B4-BE49-F238E27FC236}">
                <a16:creationId xmlns:a16="http://schemas.microsoft.com/office/drawing/2014/main" id="{E4DA5020-2130-C4C6-D582-6495779573A9}"/>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6" name="Picture 5" descr="A picture containing text, vector graphics&#10;&#10;Description automatically generated">
            <a:extLst>
              <a:ext uri="{FF2B5EF4-FFF2-40B4-BE49-F238E27FC236}">
                <a16:creationId xmlns:a16="http://schemas.microsoft.com/office/drawing/2014/main" id="{CFC452F5-588B-4F87-D659-88B3BFA30C2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3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C31FD7-C473-35C5-347E-FD76CB3F8D55}"/>
              </a:ext>
            </a:extLst>
          </p:cNvPr>
          <p:cNvPicPr>
            <a:picLocks noChangeAspect="1"/>
          </p:cNvPicPr>
          <p:nvPr userDrawn="1"/>
        </p:nvPicPr>
        <p:blipFill>
          <a:blip r:embed="rId3">
            <a:alphaModFix/>
            <a:extLst>
              <a:ext uri="{28A0092B-C50C-407E-A947-70E740481C1C}">
                <a14:useLocalDpi xmlns:a14="http://schemas.microsoft.com/office/drawing/2010/main"/>
              </a:ext>
            </a:extLst>
          </a:blip>
          <a:srcRect/>
          <a:stretch/>
        </p:blipFill>
        <p:spPr>
          <a:xfrm>
            <a:off x="1" y="0"/>
            <a:ext cx="12187065" cy="6858000"/>
          </a:xfrm>
          <a:prstGeom prst="rect">
            <a:avLst/>
          </a:prstGeom>
        </p:spPr>
      </p:pic>
      <p:sp>
        <p:nvSpPr>
          <p:cNvPr id="4" name="Vrije vorm: vorm 3">
            <a:extLst>
              <a:ext uri="{FF2B5EF4-FFF2-40B4-BE49-F238E27FC236}">
                <a16:creationId xmlns:a16="http://schemas.microsoft.com/office/drawing/2014/main" id="{EA258F79-206D-B621-5165-5061DB93F586}"/>
              </a:ext>
            </a:extLst>
          </p:cNvPr>
          <p:cNvSpPr/>
          <p:nvPr userDrawn="1"/>
        </p:nvSpPr>
        <p:spPr>
          <a:xfrm rot="15248641">
            <a:off x="2450122" y="-479125"/>
            <a:ext cx="6415321" cy="11698153"/>
          </a:xfrm>
          <a:custGeom>
            <a:avLst/>
            <a:gdLst>
              <a:gd name="connsiteX0" fmla="*/ 4661801 w 4811491"/>
              <a:gd name="connsiteY0" fmla="*/ 5225962 h 8773615"/>
              <a:gd name="connsiteX1" fmla="*/ 56799 w 4811491"/>
              <a:gd name="connsiteY1" fmla="*/ 8773615 h 8773615"/>
              <a:gd name="connsiteX2" fmla="*/ 0 w 4811491"/>
              <a:gd name="connsiteY2" fmla="*/ 8772187 h 8773615"/>
              <a:gd name="connsiteX3" fmla="*/ 2491539 w 4811491"/>
              <a:gd name="connsiteY3" fmla="*/ 0 h 8773615"/>
              <a:gd name="connsiteX4" fmla="*/ 2549783 w 4811491"/>
              <a:gd name="connsiteY4" fmla="*/ 16543 h 8773615"/>
              <a:gd name="connsiteX5" fmla="*/ 2715193 w 4811491"/>
              <a:gd name="connsiteY5" fmla="*/ 122027 h 8773615"/>
              <a:gd name="connsiteX6" fmla="*/ 4811491 w 4811491"/>
              <a:gd name="connsiteY6" fmla="*/ 4043944 h 8773615"/>
              <a:gd name="connsiteX7" fmla="*/ 4661801 w 4811491"/>
              <a:gd name="connsiteY7" fmla="*/ 5225962 h 877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491" h="8773615">
                <a:moveTo>
                  <a:pt x="4661801" y="5225962"/>
                </a:moveTo>
                <a:cubicBezTo>
                  <a:pt x="4134119" y="7266104"/>
                  <a:pt x="2272439" y="8773615"/>
                  <a:pt x="56799" y="8773615"/>
                </a:cubicBezTo>
                <a:lnTo>
                  <a:pt x="0" y="8772187"/>
                </a:lnTo>
                <a:lnTo>
                  <a:pt x="2491539" y="0"/>
                </a:lnTo>
                <a:lnTo>
                  <a:pt x="2549783" y="16543"/>
                </a:lnTo>
                <a:lnTo>
                  <a:pt x="2715193" y="122027"/>
                </a:lnTo>
                <a:cubicBezTo>
                  <a:pt x="3979949" y="971983"/>
                  <a:pt x="4811491" y="2411366"/>
                  <a:pt x="4811491" y="4043944"/>
                </a:cubicBezTo>
                <a:cubicBezTo>
                  <a:pt x="4811491" y="4452089"/>
                  <a:pt x="4759519" y="4848159"/>
                  <a:pt x="4661801" y="5225962"/>
                </a:cubicBezTo>
                <a:close/>
              </a:path>
            </a:pathLst>
          </a:custGeom>
          <a:gradFill flip="none" rotWithShape="1">
            <a:gsLst>
              <a:gs pos="93000">
                <a:schemeClr val="tx2"/>
              </a:gs>
              <a:gs pos="15000">
                <a:schemeClr val="tx2">
                  <a:lumMod val="9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465708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766400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650164" y="1900931"/>
            <a:ext cx="2758208" cy="2743691"/>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1793188"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1793188" y="5340821"/>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482708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483765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7834007" y="4800869"/>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7844572" y="5337960"/>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 name="Заголовок 2">
            <a:extLst>
              <a:ext uri="{FF2B5EF4-FFF2-40B4-BE49-F238E27FC236}">
                <a16:creationId xmlns:a16="http://schemas.microsoft.com/office/drawing/2014/main" id="{090E6282-681B-1185-E225-B3CA5108D4E6}"/>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5" name="Tijdelijke aanduiding voor tekst 2">
            <a:extLst>
              <a:ext uri="{FF2B5EF4-FFF2-40B4-BE49-F238E27FC236}">
                <a16:creationId xmlns:a16="http://schemas.microsoft.com/office/drawing/2014/main" id="{32E24D96-5BA4-A7C4-495B-1AF7106C9158}"/>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6" name="Slide Number Placeholder 1">
            <a:extLst>
              <a:ext uri="{FF2B5EF4-FFF2-40B4-BE49-F238E27FC236}">
                <a16:creationId xmlns:a16="http://schemas.microsoft.com/office/drawing/2014/main" id="{75EA9DDF-3DAE-3991-F4EA-C00809F8F2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7" name="Picture 6" descr="A picture containing text, vector graphics&#10;&#10;Description automatically generated">
            <a:extLst>
              <a:ext uri="{FF2B5EF4-FFF2-40B4-BE49-F238E27FC236}">
                <a16:creationId xmlns:a16="http://schemas.microsoft.com/office/drawing/2014/main" id="{800CC56B-B40B-58C8-1F28-982E9B57D23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4 image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5B9D9C-0006-473C-1505-B8044879BBB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B1B3128B-7FDA-9CDC-D225-F56897C3C792}"/>
              </a:ext>
            </a:extLst>
          </p:cNvPr>
          <p:cNvSpPr/>
          <p:nvPr userDrawn="1"/>
        </p:nvSpPr>
        <p:spPr>
          <a:xfrm rot="600239">
            <a:off x="-522326" y="-785884"/>
            <a:ext cx="9823932" cy="8353723"/>
          </a:xfrm>
          <a:custGeom>
            <a:avLst/>
            <a:gdLst>
              <a:gd name="connsiteX0" fmla="*/ 0 w 7367949"/>
              <a:gd name="connsiteY0" fmla="*/ 1199996 h 6265292"/>
              <a:gd name="connsiteX1" fmla="*/ 6802749 w 7367949"/>
              <a:gd name="connsiteY1" fmla="*/ 0 h 6265292"/>
              <a:gd name="connsiteX2" fmla="*/ 6899085 w 7367949"/>
              <a:gd name="connsiteY2" fmla="*/ 187103 h 6265292"/>
              <a:gd name="connsiteX3" fmla="*/ 7367949 w 7367949"/>
              <a:gd name="connsiteY3" fmla="*/ 2237611 h 6265292"/>
              <a:gd name="connsiteX4" fmla="*/ 6282209 w 7367949"/>
              <a:gd name="connsiteY4" fmla="*/ 5246121 h 6265292"/>
              <a:gd name="connsiteX5" fmla="*/ 6211617 w 7367949"/>
              <a:gd name="connsiteY5" fmla="*/ 5327186 h 6265292"/>
              <a:gd name="connsiteX6" fmla="*/ 893512 w 7367949"/>
              <a:gd name="connsiteY6" fmla="*/ 6265292 h 626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7949" h="6265292">
                <a:moveTo>
                  <a:pt x="0" y="1199996"/>
                </a:moveTo>
                <a:lnTo>
                  <a:pt x="6802749" y="0"/>
                </a:lnTo>
                <a:lnTo>
                  <a:pt x="6899085" y="187103"/>
                </a:lnTo>
                <a:cubicBezTo>
                  <a:pt x="7199562" y="807413"/>
                  <a:pt x="7367949" y="1502951"/>
                  <a:pt x="7367949" y="2237611"/>
                </a:cubicBezTo>
                <a:cubicBezTo>
                  <a:pt x="7367949" y="3380416"/>
                  <a:pt x="6960493" y="4428555"/>
                  <a:pt x="6282209" y="5246121"/>
                </a:cubicBezTo>
                <a:lnTo>
                  <a:pt x="6211617" y="5327186"/>
                </a:lnTo>
                <a:lnTo>
                  <a:pt x="893512" y="6265292"/>
                </a:lnTo>
                <a:close/>
              </a:path>
            </a:pathLst>
          </a:custGeom>
          <a:gradFill flip="none" rotWithShape="1">
            <a:gsLst>
              <a:gs pos="67000">
                <a:schemeClr val="tx2"/>
              </a:gs>
              <a:gs pos="3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25" name="Picture Placeholder 19"/>
          <p:cNvSpPr>
            <a:spLocks noGrp="1"/>
          </p:cNvSpPr>
          <p:nvPr>
            <p:ph type="pic" sz="quarter" idx="64" hasCustomPrompt="1"/>
          </p:nvPr>
        </p:nvSpPr>
        <p:spPr>
          <a:xfrm>
            <a:off x="3649595"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6" name="Picture Placeholder 19"/>
          <p:cNvSpPr>
            <a:spLocks noGrp="1"/>
          </p:cNvSpPr>
          <p:nvPr>
            <p:ph type="pic" sz="quarter" idx="65" hasCustomPrompt="1"/>
          </p:nvPr>
        </p:nvSpPr>
        <p:spPr>
          <a:xfrm>
            <a:off x="8636610"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7" name="Picture Placeholder 19"/>
          <p:cNvSpPr>
            <a:spLocks noGrp="1"/>
          </p:cNvSpPr>
          <p:nvPr>
            <p:ph type="pic" sz="quarter" idx="43" hasCustomPrompt="1"/>
          </p:nvPr>
        </p:nvSpPr>
        <p:spPr>
          <a:xfrm>
            <a:off x="1156087"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8" name="Текст 7"/>
          <p:cNvSpPr>
            <a:spLocks noGrp="1"/>
          </p:cNvSpPr>
          <p:nvPr>
            <p:ph type="body" sz="quarter" idx="75" hasCustomPrompt="1"/>
          </p:nvPr>
        </p:nvSpPr>
        <p:spPr>
          <a:xfrm>
            <a:off x="3616087"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29" name="Текст 7"/>
          <p:cNvSpPr>
            <a:spLocks noGrp="1"/>
          </p:cNvSpPr>
          <p:nvPr>
            <p:ph type="body" sz="quarter" idx="76" hasCustomPrompt="1"/>
          </p:nvPr>
        </p:nvSpPr>
        <p:spPr>
          <a:xfrm>
            <a:off x="3614533"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1" name="Текст 7"/>
          <p:cNvSpPr>
            <a:spLocks noGrp="1"/>
          </p:cNvSpPr>
          <p:nvPr>
            <p:ph type="body" sz="quarter" idx="77" hasCustomPrompt="1"/>
          </p:nvPr>
        </p:nvSpPr>
        <p:spPr>
          <a:xfrm>
            <a:off x="6086360"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2" name="Текст 7"/>
          <p:cNvSpPr>
            <a:spLocks noGrp="1"/>
          </p:cNvSpPr>
          <p:nvPr>
            <p:ph type="body" sz="quarter" idx="78" hasCustomPrompt="1"/>
          </p:nvPr>
        </p:nvSpPr>
        <p:spPr>
          <a:xfrm>
            <a:off x="6086527"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3" name="Текст 7"/>
          <p:cNvSpPr>
            <a:spLocks noGrp="1"/>
          </p:cNvSpPr>
          <p:nvPr>
            <p:ph type="body" sz="quarter" idx="79" hasCustomPrompt="1"/>
          </p:nvPr>
        </p:nvSpPr>
        <p:spPr>
          <a:xfrm>
            <a:off x="8547955" y="4622145"/>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4" name="Текст 7"/>
          <p:cNvSpPr>
            <a:spLocks noGrp="1"/>
          </p:cNvSpPr>
          <p:nvPr>
            <p:ph type="body" sz="quarter" idx="80" hasCustomPrompt="1"/>
          </p:nvPr>
        </p:nvSpPr>
        <p:spPr>
          <a:xfrm>
            <a:off x="8558520" y="5150724"/>
            <a:ext cx="2472160" cy="840257"/>
          </a:xfrm>
          <a:prstGeom prst="rect">
            <a:avLst/>
          </a:prstGeom>
        </p:spPr>
        <p:txBody>
          <a:bodyPr tIns="0">
            <a:noAutofit/>
          </a:bodyPr>
          <a:lstStyle>
            <a:lvl1pPr marL="0" indent="0" algn="ctr">
              <a:lnSpc>
                <a:spcPct val="100000"/>
              </a:lnSpc>
              <a:spcBef>
                <a:spcPts val="0"/>
              </a:spcBef>
              <a:buNone/>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19" name="Picture Placeholder 19"/>
          <p:cNvSpPr>
            <a:spLocks noGrp="1"/>
          </p:cNvSpPr>
          <p:nvPr>
            <p:ph type="pic" sz="quarter" idx="81" hasCustomPrompt="1"/>
          </p:nvPr>
        </p:nvSpPr>
        <p:spPr>
          <a:xfrm>
            <a:off x="6143103" y="2081223"/>
            <a:ext cx="2395719" cy="2383108"/>
          </a:xfrm>
          <a:custGeom>
            <a:avLst/>
            <a:gdLst>
              <a:gd name="connsiteX0" fmla="*/ 2374769 w 4749538"/>
              <a:gd name="connsiteY0" fmla="*/ 0 h 4724544"/>
              <a:gd name="connsiteX1" fmla="*/ 4749538 w 4749538"/>
              <a:gd name="connsiteY1" fmla="*/ 2362272 h 4724544"/>
              <a:gd name="connsiteX2" fmla="*/ 2374769 w 4749538"/>
              <a:gd name="connsiteY2" fmla="*/ 4724544 h 4724544"/>
              <a:gd name="connsiteX3" fmla="*/ 0 w 4749538"/>
              <a:gd name="connsiteY3" fmla="*/ 2362272 h 4724544"/>
              <a:gd name="connsiteX4" fmla="*/ 2374769 w 4749538"/>
              <a:gd name="connsiteY4" fmla="*/ 0 h 47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538" h="4724544">
                <a:moveTo>
                  <a:pt x="2374769" y="0"/>
                </a:moveTo>
                <a:cubicBezTo>
                  <a:pt x="3686318" y="0"/>
                  <a:pt x="4749538" y="1057625"/>
                  <a:pt x="4749538" y="2362272"/>
                </a:cubicBezTo>
                <a:cubicBezTo>
                  <a:pt x="4749538" y="3666919"/>
                  <a:pt x="3686318" y="4724544"/>
                  <a:pt x="2374769" y="4724544"/>
                </a:cubicBezTo>
                <a:cubicBezTo>
                  <a:pt x="1063220" y="4724544"/>
                  <a:pt x="0" y="3666919"/>
                  <a:pt x="0" y="2362272"/>
                </a:cubicBezTo>
                <a:cubicBezTo>
                  <a:pt x="0" y="1057625"/>
                  <a:pt x="1063220" y="0"/>
                  <a:pt x="2374769" y="0"/>
                </a:cubicBezTo>
                <a:close/>
              </a:path>
            </a:pathLst>
          </a:custGeom>
          <a:solidFill>
            <a:schemeClr val="tx1">
              <a:alpha val="10000"/>
            </a:schemeClr>
          </a:solidFill>
          <a:ln w="6350">
            <a:noFill/>
          </a:ln>
        </p:spPr>
        <p:txBody>
          <a:bodyPr wrap="square" anchor="ctr">
            <a:noAutofit/>
          </a:bodyPr>
          <a:lstStyle>
            <a:lvl1pPr algn="ctr">
              <a:lnSpc>
                <a:spcPct val="100000"/>
              </a:lnSpc>
              <a:defRPr sz="1100" b="0" baseline="0">
                <a:solidFill>
                  <a:schemeClr val="tx1">
                    <a:lumMod val="50000"/>
                    <a:lumOff val="50000"/>
                  </a:schemeClr>
                </a:solidFill>
              </a:defRPr>
            </a:lvl1pPr>
          </a:lstStyle>
          <a:p>
            <a:r>
              <a:rPr lang="en-US"/>
              <a:t>Drag and drop </a:t>
            </a:r>
          </a:p>
          <a:p>
            <a:r>
              <a:rPr lang="en-US"/>
              <a:t>image here</a:t>
            </a:r>
          </a:p>
        </p:txBody>
      </p:sp>
      <p:sp>
        <p:nvSpPr>
          <p:cNvPr id="20" name="Текст 7"/>
          <p:cNvSpPr>
            <a:spLocks noGrp="1"/>
          </p:cNvSpPr>
          <p:nvPr>
            <p:ph type="body" sz="quarter" idx="82" hasCustomPrompt="1"/>
          </p:nvPr>
        </p:nvSpPr>
        <p:spPr>
          <a:xfrm>
            <a:off x="1142540" y="4622304"/>
            <a:ext cx="2472160" cy="443947"/>
          </a:xfrm>
          <a:prstGeom prst="rect">
            <a:avLst/>
          </a:prstGeom>
        </p:spPr>
        <p:txBody>
          <a:bodyPr tIns="0" bIns="0" anchor="b" anchorCtr="0">
            <a:noAutofit/>
          </a:bodyPr>
          <a:lstStyle>
            <a:lvl1pPr marL="0" indent="0" algn="ctr">
              <a:lnSpc>
                <a:spcPct val="100000"/>
              </a:lnSpc>
              <a:spcBef>
                <a:spcPts val="0"/>
              </a:spcBef>
              <a:buNone/>
              <a:defRPr sz="2000" b="1" i="0" cap="none" baseline="0">
                <a:solidFill>
                  <a:schemeClr val="tx1"/>
                </a:solidFill>
                <a:latin typeface="HEINEKEN Core ExtraBold" panose="02000503050000020004" pitchFamily="2" charset="0"/>
                <a:ea typeface="HEINEKEN Core ExtraBold" panose="02000503050000020004" pitchFamily="2" charset="0"/>
                <a:cs typeface="HEINEKEN Core ExtraBold" panose="02000503050000020004" pitchFamily="2" charset="0"/>
              </a:defRPr>
            </a:lvl1pPr>
            <a:lvl2pPr algn="ctr">
              <a:defRPr/>
            </a:lvl2pPr>
            <a:lvl3pPr algn="ctr">
              <a:defRPr/>
            </a:lvl3pPr>
            <a:lvl4pPr algn="ctr">
              <a:lnSpc>
                <a:spcPct val="150000"/>
              </a:lnSpc>
              <a:defRPr/>
            </a:lvl4pPr>
            <a:lvl5pPr algn="ctr">
              <a:defRPr/>
            </a:lvl5pPr>
          </a:lstStyle>
          <a:p>
            <a:pPr lvl="0"/>
            <a:r>
              <a:rPr lang="en-US"/>
              <a:t>Title here</a:t>
            </a:r>
          </a:p>
        </p:txBody>
      </p:sp>
      <p:sp>
        <p:nvSpPr>
          <p:cNvPr id="30" name="Текст 7"/>
          <p:cNvSpPr>
            <a:spLocks noGrp="1"/>
          </p:cNvSpPr>
          <p:nvPr>
            <p:ph type="body" sz="quarter" idx="83" hasCustomPrompt="1"/>
          </p:nvPr>
        </p:nvSpPr>
        <p:spPr>
          <a:xfrm>
            <a:off x="1142540" y="5153743"/>
            <a:ext cx="2472160" cy="840257"/>
          </a:xfrm>
          <a:prstGeom prst="rect">
            <a:avLst/>
          </a:prstGeom>
        </p:spPr>
        <p:txBody>
          <a:bodyPr tIns="0">
            <a:noAutofit/>
          </a:bodyPr>
          <a:lstStyle>
            <a:lvl1pPr marL="0" marR="0" indent="0" algn="ctr" defTabSz="412740" eaLnBrk="1" fontAlgn="auto" latinLnBrk="0" hangingPunct="1">
              <a:lnSpc>
                <a:spcPct val="100000"/>
              </a:lnSpc>
              <a:spcBef>
                <a:spcPts val="0"/>
              </a:spcBef>
              <a:spcAft>
                <a:spcPts val="0"/>
              </a:spcAft>
              <a:buClrTx/>
              <a:buSzPct val="75000"/>
              <a:buFontTx/>
              <a:buNone/>
              <a:tabLst/>
              <a:defRPr lang="en-US" sz="1400" b="0" i="0" baseline="0" smtClean="0">
                <a:solidFill>
                  <a:schemeClr val="bg1"/>
                </a:solidFill>
                <a:effectLst/>
                <a:latin typeface="HEINEKEN Core" panose="02000503050000020004" pitchFamily="2" charset="0"/>
              </a:defRPr>
            </a:lvl1pPr>
            <a:lvl2pPr algn="ctr">
              <a:defRPr/>
            </a:lvl2pPr>
            <a:lvl3pPr algn="ctr">
              <a:defRPr/>
            </a:lvl3pPr>
            <a:lvl4pPr algn="ctr">
              <a:lnSpc>
                <a:spcPct val="150000"/>
              </a:lnSpc>
              <a:defRPr/>
            </a:lvl4pPr>
            <a:lvl5pPr algn="ctr">
              <a:defRPr/>
            </a:lvl5pPr>
          </a:lstStyle>
          <a:p>
            <a:r>
              <a:rPr lang="en-US"/>
              <a:t>Text in here</a:t>
            </a:r>
          </a:p>
          <a:p>
            <a:r>
              <a:rPr lang="en-US"/>
              <a:t>Text in here</a:t>
            </a:r>
          </a:p>
          <a:p>
            <a:r>
              <a:rPr lang="en-US"/>
              <a:t>Text in here</a:t>
            </a:r>
          </a:p>
        </p:txBody>
      </p:sp>
      <p:sp>
        <p:nvSpPr>
          <p:cNvPr id="36" name="Заголовок 2">
            <a:extLst>
              <a:ext uri="{FF2B5EF4-FFF2-40B4-BE49-F238E27FC236}">
                <a16:creationId xmlns:a16="http://schemas.microsoft.com/office/drawing/2014/main" id="{0817C7B8-4EC5-5F46-A715-E1803D974EE4}"/>
              </a:ext>
            </a:extLst>
          </p:cNvPr>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38" name="Tijdelijke aanduiding voor tekst 2">
            <a:extLst>
              <a:ext uri="{FF2B5EF4-FFF2-40B4-BE49-F238E27FC236}">
                <a16:creationId xmlns:a16="http://schemas.microsoft.com/office/drawing/2014/main" id="{6F148360-3CEA-2E43-9AC3-1C3ECF9C458F}"/>
              </a:ext>
            </a:extLst>
          </p:cNvPr>
          <p:cNvSpPr>
            <a:spLocks noGrp="1"/>
          </p:cNvSpPr>
          <p:nvPr>
            <p:ph type="body" sz="quarter" idx="63" hasCustomPrompt="1"/>
          </p:nvPr>
        </p:nvSpPr>
        <p:spPr>
          <a:xfrm>
            <a:off x="456955" y="864000"/>
            <a:ext cx="10440000"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C3E2B645-4D97-517D-1B10-70CA5AB02A3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3CF0C881-74E6-93A8-5894-CA72237D39F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reserve="1">
  <p:cSld name="White">
    <p:bg>
      <p:bgPr>
        <a:solidFill>
          <a:srgbClr val="FEFFFE"/>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200462-57ED-2593-59F0-AFFAEEA773A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072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M1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1" y="0"/>
            <a:ext cx="7914807" cy="6858000"/>
          </a:xfrm>
          <a:prstGeom prst="rect">
            <a:avLst/>
          </a:prstGeom>
          <a:gradFill>
            <a:gsLst>
              <a:gs pos="100000">
                <a:srgbClr val="213674"/>
              </a:gs>
              <a:gs pos="0">
                <a:srgbClr val="33669A"/>
              </a:gs>
            </a:gsLst>
            <a:lin ang="1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2" name="Picture 4" descr="A picture containing text&#10;&#10;Description automatically generated">
            <a:extLst>
              <a:ext uri="{FF2B5EF4-FFF2-40B4-BE49-F238E27FC236}">
                <a16:creationId xmlns:a16="http://schemas.microsoft.com/office/drawing/2014/main" id="{37CB1955-995C-C670-AD3B-4455514798A5}"/>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C54550C9-D2BC-C6E9-2F57-8C11AFD09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07341" y="1478956"/>
            <a:ext cx="3902400" cy="3902400"/>
          </a:xfrm>
          <a:prstGeom prst="rect">
            <a:avLst/>
          </a:prstGeom>
        </p:spPr>
      </p:pic>
    </p:spTree>
    <p:extLst>
      <p:ext uri="{BB962C8B-B14F-4D97-AF65-F5344CB8AC3E}">
        <p14:creationId xmlns:p14="http://schemas.microsoft.com/office/powerpoint/2010/main" val="22296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M1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14025BA-C80C-E410-09E1-0BB26ABBDF21}"/>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2"/>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2"/>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pic>
        <p:nvPicPr>
          <p:cNvPr id="10" name="Picture 9">
            <a:extLst>
              <a:ext uri="{FF2B5EF4-FFF2-40B4-BE49-F238E27FC236}">
                <a16:creationId xmlns:a16="http://schemas.microsoft.com/office/drawing/2014/main" id="{9AE28E6E-4FAC-F7F3-14FD-0D3742534BB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370" y="491566"/>
            <a:ext cx="673265" cy="673265"/>
          </a:xfrm>
          <a:prstGeom prst="rect">
            <a:avLst/>
          </a:prstGeom>
          <a:noFill/>
        </p:spPr>
      </p:pic>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213674"/>
              </a:gs>
              <a:gs pos="0">
                <a:srgbClr val="33669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sp>
        <p:nvSpPr>
          <p:cNvPr id="5" name="Текст 7">
            <a:extLst>
              <a:ext uri="{FF2B5EF4-FFF2-40B4-BE49-F238E27FC236}">
                <a16:creationId xmlns:a16="http://schemas.microsoft.com/office/drawing/2014/main" id="{204D0BED-DA6F-D6C1-831A-C192050B52C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2"/>
                </a:solidFill>
                <a:effectLst/>
                <a:latin typeface="HEINEKEN Core" panose="02000503050000020004" pitchFamily="2" charset="0"/>
              </a:defRPr>
            </a:lvl1pPr>
            <a:lvl2pPr marL="180975" indent="-180975" algn="l">
              <a:lnSpc>
                <a:spcPct val="120000"/>
              </a:lnSpc>
              <a:spcAft>
                <a:spcPts val="500"/>
              </a:spcAft>
              <a:defRPr>
                <a:solidFill>
                  <a:schemeClr val="accent2"/>
                </a:solidFill>
              </a:defRPr>
            </a:lvl2pPr>
            <a:lvl3pPr marL="357188" indent="-180975" algn="l">
              <a:lnSpc>
                <a:spcPct val="120000"/>
              </a:lnSpc>
              <a:spcAft>
                <a:spcPts val="500"/>
              </a:spcAft>
              <a:defRPr>
                <a:solidFill>
                  <a:schemeClr val="accent2"/>
                </a:solidFill>
              </a:defRPr>
            </a:lvl3pPr>
            <a:lvl4pPr marL="538163" indent="-180975" algn="l">
              <a:lnSpc>
                <a:spcPct val="120000"/>
              </a:lnSpc>
              <a:spcAft>
                <a:spcPts val="500"/>
              </a:spcAft>
              <a:defRPr>
                <a:solidFill>
                  <a:schemeClr val="accent2"/>
                </a:solidFill>
              </a:defRPr>
            </a:lvl4pPr>
            <a:lvl5pPr marL="717550" indent="-180975" algn="l">
              <a:lnSpc>
                <a:spcPct val="120000"/>
              </a:lnSpc>
              <a:spcAft>
                <a:spcPts val="500"/>
              </a:spcAft>
              <a:defRPr>
                <a:solidFill>
                  <a:schemeClr val="accent2"/>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414803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M2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FB3208"/>
              </a:gs>
              <a:gs pos="0">
                <a:srgbClr val="FB6308"/>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4263F28C-0A24-3597-D894-F715A08B41EE}"/>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8956"/>
            <a:ext cx="3902400" cy="3902400"/>
          </a:xfrm>
          <a:prstGeom prst="rect">
            <a:avLst/>
          </a:prstGeom>
        </p:spPr>
      </p:pic>
    </p:spTree>
    <p:extLst>
      <p:ext uri="{BB962C8B-B14F-4D97-AF65-F5344CB8AC3E}">
        <p14:creationId xmlns:p14="http://schemas.microsoft.com/office/powerpoint/2010/main" val="77000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M2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3"/>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3"/>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FB3208"/>
              </a:gs>
              <a:gs pos="0">
                <a:srgbClr val="FB6308"/>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68BC8D7F-E9A7-08B0-2E57-C5B516B4CF4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3" y="492833"/>
            <a:ext cx="671999" cy="671999"/>
          </a:xfrm>
          <a:prstGeom prst="rect">
            <a:avLst/>
          </a:prstGeom>
        </p:spPr>
      </p:pic>
      <p:sp>
        <p:nvSpPr>
          <p:cNvPr id="2" name="Текст 7">
            <a:extLst>
              <a:ext uri="{FF2B5EF4-FFF2-40B4-BE49-F238E27FC236}">
                <a16:creationId xmlns:a16="http://schemas.microsoft.com/office/drawing/2014/main" id="{B5E29D0B-3CA2-3DE8-6CBF-F74784D802F4}"/>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3"/>
                </a:solidFill>
                <a:effectLst/>
                <a:latin typeface="HEINEKEN Core" panose="02000503050000020004" pitchFamily="2" charset="0"/>
              </a:defRPr>
            </a:lvl1pPr>
            <a:lvl2pPr marL="180975" indent="-180975" algn="l">
              <a:lnSpc>
                <a:spcPct val="120000"/>
              </a:lnSpc>
              <a:spcAft>
                <a:spcPts val="500"/>
              </a:spcAft>
              <a:defRPr>
                <a:solidFill>
                  <a:schemeClr val="accent3"/>
                </a:solidFill>
              </a:defRPr>
            </a:lvl2pPr>
            <a:lvl3pPr marL="357188" indent="-180975" algn="l">
              <a:lnSpc>
                <a:spcPct val="120000"/>
              </a:lnSpc>
              <a:spcAft>
                <a:spcPts val="500"/>
              </a:spcAft>
              <a:defRPr>
                <a:solidFill>
                  <a:schemeClr val="accent3"/>
                </a:solidFill>
              </a:defRPr>
            </a:lvl3pPr>
            <a:lvl4pPr marL="538163" indent="-180975" algn="l">
              <a:lnSpc>
                <a:spcPct val="120000"/>
              </a:lnSpc>
              <a:spcAft>
                <a:spcPts val="500"/>
              </a:spcAft>
              <a:defRPr>
                <a:solidFill>
                  <a:schemeClr val="accent3"/>
                </a:solidFill>
              </a:defRPr>
            </a:lvl4pPr>
            <a:lvl5pPr marL="717550" indent="-180975" algn="l">
              <a:lnSpc>
                <a:spcPct val="120000"/>
              </a:lnSpc>
              <a:spcAft>
                <a:spcPts val="500"/>
              </a:spcAft>
              <a:defRPr>
                <a:solidFill>
                  <a:schemeClr val="accent3"/>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224537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M3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14440B"/>
              </a:gs>
              <a:gs pos="0">
                <a:srgbClr val="14570B"/>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40D2670F-2D9D-2710-A43E-7EBE56DCBFD9}"/>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40052" y="1476644"/>
            <a:ext cx="3902400" cy="3902400"/>
          </a:xfrm>
          <a:prstGeom prst="rect">
            <a:avLst/>
          </a:prstGeom>
        </p:spPr>
      </p:pic>
    </p:spTree>
    <p:extLst>
      <p:ext uri="{BB962C8B-B14F-4D97-AF65-F5344CB8AC3E}">
        <p14:creationId xmlns:p14="http://schemas.microsoft.com/office/powerpoint/2010/main" val="27522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M3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4"/>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4"/>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14440B"/>
              </a:gs>
              <a:gs pos="0">
                <a:srgbClr val="14570B"/>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5" name="Picture 4">
            <a:extLst>
              <a:ext uri="{FF2B5EF4-FFF2-40B4-BE49-F238E27FC236}">
                <a16:creationId xmlns:a16="http://schemas.microsoft.com/office/drawing/2014/main" id="{15A28BE6-240B-26AD-167B-B5BC07A7A50A}"/>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2" y="492833"/>
            <a:ext cx="671999" cy="671999"/>
          </a:xfrm>
          <a:prstGeom prst="rect">
            <a:avLst/>
          </a:prstGeom>
        </p:spPr>
      </p:pic>
      <p:sp>
        <p:nvSpPr>
          <p:cNvPr id="2" name="Текст 7">
            <a:extLst>
              <a:ext uri="{FF2B5EF4-FFF2-40B4-BE49-F238E27FC236}">
                <a16:creationId xmlns:a16="http://schemas.microsoft.com/office/drawing/2014/main" id="{F733A9DB-76A3-1A9B-5ABC-B281A1EF4EC6}"/>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4"/>
                </a:solidFill>
                <a:effectLst/>
                <a:latin typeface="HEINEKEN Core" panose="02000503050000020004" pitchFamily="2" charset="0"/>
              </a:defRPr>
            </a:lvl1pPr>
            <a:lvl2pPr marL="180975" indent="-180975" algn="l">
              <a:lnSpc>
                <a:spcPct val="120000"/>
              </a:lnSpc>
              <a:spcAft>
                <a:spcPts val="500"/>
              </a:spcAft>
              <a:defRPr>
                <a:solidFill>
                  <a:schemeClr val="accent4"/>
                </a:solidFill>
              </a:defRPr>
            </a:lvl2pPr>
            <a:lvl3pPr marL="357188" indent="-180975" algn="l">
              <a:lnSpc>
                <a:spcPct val="120000"/>
              </a:lnSpc>
              <a:spcAft>
                <a:spcPts val="500"/>
              </a:spcAft>
              <a:defRPr>
                <a:solidFill>
                  <a:schemeClr val="accent4"/>
                </a:solidFill>
              </a:defRPr>
            </a:lvl3pPr>
            <a:lvl4pPr marL="538163" indent="-180975" algn="l">
              <a:lnSpc>
                <a:spcPct val="120000"/>
              </a:lnSpc>
              <a:spcAft>
                <a:spcPts val="500"/>
              </a:spcAft>
              <a:defRPr>
                <a:solidFill>
                  <a:schemeClr val="accent4"/>
                </a:solidFill>
              </a:defRPr>
            </a:lvl4pPr>
            <a:lvl5pPr marL="717550" indent="-180975" algn="l">
              <a:lnSpc>
                <a:spcPct val="120000"/>
              </a:lnSpc>
              <a:spcAft>
                <a:spcPts val="500"/>
              </a:spcAft>
              <a:defRPr>
                <a:solidFill>
                  <a:schemeClr val="accent4"/>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36509326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M4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540D68"/>
              </a:gs>
              <a:gs pos="0">
                <a:srgbClr val="7A0D7A"/>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7" name="Picture 6">
            <a:extLst>
              <a:ext uri="{FF2B5EF4-FFF2-40B4-BE49-F238E27FC236}">
                <a16:creationId xmlns:a16="http://schemas.microsoft.com/office/drawing/2014/main" id="{00E539DC-E813-26EE-46BF-D8375F026140}"/>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87312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M4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5"/>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5"/>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540D68"/>
              </a:gs>
              <a:gs pos="0">
                <a:srgbClr val="7A0D7A"/>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6" name="Picture 5">
            <a:extLst>
              <a:ext uri="{FF2B5EF4-FFF2-40B4-BE49-F238E27FC236}">
                <a16:creationId xmlns:a16="http://schemas.microsoft.com/office/drawing/2014/main" id="{72D0BC6A-2058-F215-E687-E40EEEFFF74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6001" y="492833"/>
            <a:ext cx="671999" cy="671999"/>
          </a:xfrm>
          <a:prstGeom prst="rect">
            <a:avLst/>
          </a:prstGeom>
        </p:spPr>
      </p:pic>
      <p:sp>
        <p:nvSpPr>
          <p:cNvPr id="2" name="Текст 7">
            <a:extLst>
              <a:ext uri="{FF2B5EF4-FFF2-40B4-BE49-F238E27FC236}">
                <a16:creationId xmlns:a16="http://schemas.microsoft.com/office/drawing/2014/main" id="{47FDEEDB-0863-43C0-54C7-0BBA534238BD}"/>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5"/>
                </a:solidFill>
                <a:effectLst/>
                <a:latin typeface="HEINEKEN Core" panose="02000503050000020004" pitchFamily="2" charset="0"/>
              </a:defRPr>
            </a:lvl1pPr>
            <a:lvl2pPr marL="180975" indent="-180975" algn="l">
              <a:lnSpc>
                <a:spcPct val="120000"/>
              </a:lnSpc>
              <a:spcAft>
                <a:spcPts val="500"/>
              </a:spcAft>
              <a:defRPr>
                <a:solidFill>
                  <a:schemeClr val="accent5"/>
                </a:solidFill>
              </a:defRPr>
            </a:lvl2pPr>
            <a:lvl3pPr marL="357188" indent="-180975" algn="l">
              <a:lnSpc>
                <a:spcPct val="120000"/>
              </a:lnSpc>
              <a:spcAft>
                <a:spcPts val="500"/>
              </a:spcAft>
              <a:defRPr>
                <a:solidFill>
                  <a:schemeClr val="accent5"/>
                </a:solidFill>
              </a:defRPr>
            </a:lvl3pPr>
            <a:lvl4pPr marL="538163" indent="-180975" algn="l">
              <a:lnSpc>
                <a:spcPct val="120000"/>
              </a:lnSpc>
              <a:spcAft>
                <a:spcPts val="500"/>
              </a:spcAft>
              <a:defRPr>
                <a:solidFill>
                  <a:schemeClr val="accent5"/>
                </a:solidFill>
              </a:defRPr>
            </a:lvl4pPr>
            <a:lvl5pPr marL="717550" indent="-180975" algn="l">
              <a:lnSpc>
                <a:spcPct val="120000"/>
              </a:lnSpc>
              <a:spcAft>
                <a:spcPts val="500"/>
              </a:spcAft>
              <a:defRPr>
                <a:solidFill>
                  <a:schemeClr val="accent5"/>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4269764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M5 cov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D436F-ECEC-05CE-FAEB-18207A7CAEFA}"/>
              </a:ext>
            </a:extLst>
          </p:cNvPr>
          <p:cNvSpPr/>
          <p:nvPr userDrawn="1"/>
        </p:nvSpPr>
        <p:spPr>
          <a:xfrm>
            <a:off x="0" y="0"/>
            <a:ext cx="7663544" cy="6858000"/>
          </a:xfrm>
          <a:prstGeom prst="rect">
            <a:avLst/>
          </a:prstGeom>
          <a:gradFill>
            <a:gsLst>
              <a:gs pos="100000">
                <a:srgbClr val="666666"/>
              </a:gs>
              <a:gs pos="0">
                <a:srgbClr val="808080"/>
              </a:gs>
            </a:gsLst>
            <a:lin ang="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pic>
        <p:nvPicPr>
          <p:cNvPr id="5" name="Picture 4" descr="A picture containing text&#10;&#10;Description automatically generated">
            <a:extLst>
              <a:ext uri="{FF2B5EF4-FFF2-40B4-BE49-F238E27FC236}">
                <a16:creationId xmlns:a16="http://schemas.microsoft.com/office/drawing/2014/main" id="{1E72AC17-D445-9D2F-D67D-80C6875BE8A1}"/>
              </a:ext>
            </a:extLst>
          </p:cNvPr>
          <p:cNvPicPr>
            <a:picLocks noChangeAspect="1"/>
          </p:cNvPicPr>
          <p:nvPr userDrawn="1"/>
        </p:nvPicPr>
        <p:blipFill>
          <a:blip r:embed="rId3">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Vrije vorm: vorm 5">
            <a:extLst>
              <a:ext uri="{FF2B5EF4-FFF2-40B4-BE49-F238E27FC236}">
                <a16:creationId xmlns:a16="http://schemas.microsoft.com/office/drawing/2014/main" id="{B39DF486-BD00-E2FB-7388-D09E4B7CE214}"/>
              </a:ext>
            </a:extLst>
          </p:cNvPr>
          <p:cNvSpPr/>
          <p:nvPr userDrawn="1"/>
        </p:nvSpPr>
        <p:spPr>
          <a:xfrm>
            <a:off x="5722771"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chemeClr val="tx2">
                  <a:lumMod val="85000"/>
                </a:schemeClr>
              </a:gs>
              <a:gs pos="17000">
                <a:schemeClr val="tx2"/>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pic>
        <p:nvPicPr>
          <p:cNvPr id="9" name="Picture 8">
            <a:extLst>
              <a:ext uri="{FF2B5EF4-FFF2-40B4-BE49-F238E27FC236}">
                <a16:creationId xmlns:a16="http://schemas.microsoft.com/office/drawing/2014/main" id="{A15076D9-AB7F-6216-BBD8-E3594A3E8E3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7029625" y="1476644"/>
            <a:ext cx="3902400" cy="3902400"/>
          </a:xfrm>
          <a:prstGeom prst="rect">
            <a:avLst/>
          </a:prstGeom>
        </p:spPr>
      </p:pic>
    </p:spTree>
    <p:extLst>
      <p:ext uri="{BB962C8B-B14F-4D97-AF65-F5344CB8AC3E}">
        <p14:creationId xmlns:p14="http://schemas.microsoft.com/office/powerpoint/2010/main" val="22752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M5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91035F-DC68-4970-1E50-295E2B2CBFC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7" name="Vrije vorm: vorm 6">
            <a:extLst>
              <a:ext uri="{FF2B5EF4-FFF2-40B4-BE49-F238E27FC236}">
                <a16:creationId xmlns:a16="http://schemas.microsoft.com/office/drawing/2014/main" id="{ABC6981E-EB96-2C09-E876-4763194AAECA}"/>
              </a:ext>
            </a:extLst>
          </p:cNvPr>
          <p:cNvSpPr/>
          <p:nvPr userDrawn="1"/>
        </p:nvSpPr>
        <p:spPr>
          <a:xfrm rot="2998154">
            <a:off x="66504" y="-1193467"/>
            <a:ext cx="2582177" cy="3460364"/>
          </a:xfrm>
          <a:custGeom>
            <a:avLst/>
            <a:gdLst>
              <a:gd name="connsiteX0" fmla="*/ 0 w 4068474"/>
              <a:gd name="connsiteY0" fmla="*/ 3801852 h 5452142"/>
              <a:gd name="connsiteX1" fmla="*/ 3193613 w 4068474"/>
              <a:gd name="connsiteY1" fmla="*/ 0 h 5452142"/>
              <a:gd name="connsiteX2" fmla="*/ 3278687 w 4068474"/>
              <a:gd name="connsiteY2" fmla="*/ 97696 h 5452142"/>
              <a:gd name="connsiteX3" fmla="*/ 4068474 w 4068474"/>
              <a:gd name="connsiteY3" fmla="*/ 2286140 h 5452142"/>
              <a:gd name="connsiteX4" fmla="*/ 2258423 w 4068474"/>
              <a:gd name="connsiteY4" fmla="*/ 5311343 h 5452142"/>
              <a:gd name="connsiteX5" fmla="*/ 1964596 w 4068474"/>
              <a:gd name="connsiteY5" fmla="*/ 5452142 h 545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474" h="5452142">
                <a:moveTo>
                  <a:pt x="0" y="3801852"/>
                </a:moveTo>
                <a:lnTo>
                  <a:pt x="3193613" y="0"/>
                </a:lnTo>
                <a:lnTo>
                  <a:pt x="3278687" y="97696"/>
                </a:lnTo>
                <a:cubicBezTo>
                  <a:pt x="3772084" y="692408"/>
                  <a:pt x="4068474" y="1454844"/>
                  <a:pt x="4068474" y="2286140"/>
                </a:cubicBezTo>
                <a:cubicBezTo>
                  <a:pt x="4068474" y="3592463"/>
                  <a:pt x="3336571" y="4728740"/>
                  <a:pt x="2258423" y="5311343"/>
                </a:cubicBezTo>
                <a:lnTo>
                  <a:pt x="1964596" y="5452142"/>
                </a:lnTo>
                <a:close/>
              </a:path>
            </a:pathLst>
          </a:custGeom>
          <a:gradFill flip="none" rotWithShape="1">
            <a:gsLst>
              <a:gs pos="85000">
                <a:schemeClr val="tx2">
                  <a:lumMod val="85000"/>
                </a:schemeClr>
              </a:gs>
              <a:gs pos="27000">
                <a:schemeClr val="tx2"/>
              </a:gs>
            </a:gsLst>
            <a:lin ang="81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667"/>
          </a:p>
        </p:txBody>
      </p:sp>
      <p:sp>
        <p:nvSpPr>
          <p:cNvPr id="41" name="Заголовок 2"/>
          <p:cNvSpPr>
            <a:spLocks noGrp="1"/>
          </p:cNvSpPr>
          <p:nvPr>
            <p:ph type="title" hasCustomPrompt="1"/>
          </p:nvPr>
        </p:nvSpPr>
        <p:spPr>
          <a:xfrm>
            <a:off x="456954" y="536715"/>
            <a:ext cx="10787980" cy="335999"/>
          </a:xfrm>
          <a:prstGeom prst="rect">
            <a:avLst/>
          </a:prstGeom>
          <a:effectLst/>
        </p:spPr>
        <p:txBody>
          <a:bodyPr tIns="0" bIns="91440" anchor="t" anchorCtr="0"/>
          <a:lstStyle>
            <a:lvl1pPr algn="l">
              <a:lnSpc>
                <a:spcPct val="80000"/>
              </a:lnSpc>
              <a:defRPr sz="3000" b="1" i="0" kern="3000" spc="0" baseline="0">
                <a:solidFill>
                  <a:schemeClr val="accent6"/>
                </a:solidFill>
                <a:latin typeface="HEINEKEN Core ExtraBold" panose="02000503050000020004" pitchFamily="2" charset="0"/>
              </a:defRPr>
            </a:lvl1pPr>
          </a:lstStyle>
          <a:p>
            <a:r>
              <a:rPr lang="en-US"/>
              <a:t>Title here</a:t>
            </a:r>
          </a:p>
        </p:txBody>
      </p:sp>
      <p:sp>
        <p:nvSpPr>
          <p:cNvPr id="3" name="Tijdelijke aanduiding voor tekst 2"/>
          <p:cNvSpPr>
            <a:spLocks noGrp="1"/>
          </p:cNvSpPr>
          <p:nvPr>
            <p:ph type="body" sz="quarter" idx="63" hasCustomPrompt="1"/>
          </p:nvPr>
        </p:nvSpPr>
        <p:spPr>
          <a:xfrm>
            <a:off x="456954" y="864000"/>
            <a:ext cx="10728151" cy="300831"/>
          </a:xfrm>
          <a:prstGeom prst="rect">
            <a:avLst/>
          </a:prstGeom>
        </p:spPr>
        <p:txBody>
          <a:bodyPr>
            <a:noAutofit/>
          </a:bodyPr>
          <a:lstStyle>
            <a:lvl1pPr marL="0" indent="0">
              <a:buNone/>
              <a:defRPr sz="1600" b="0" i="0" cap="none" spc="400" baseline="0">
                <a:solidFill>
                  <a:schemeClr val="accent6"/>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4" name="Slide Number Placeholder 1">
            <a:extLst>
              <a:ext uri="{FF2B5EF4-FFF2-40B4-BE49-F238E27FC236}">
                <a16:creationId xmlns:a16="http://schemas.microsoft.com/office/drawing/2014/main" id="{722B5D4D-75E3-E111-1A60-A77E30BF6B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rgbClr val="666666"/>
                </a:solidFill>
                <a:latin typeface="HEINEKEN Core" panose="02000503050000020004" pitchFamily="2" charset="0"/>
              </a:defRPr>
            </a:lvl1pPr>
          </a:lstStyle>
          <a:p>
            <a:fld id="{F7D798F7-A0AD-A14E-8CE9-57071D50F00B}" type="slidenum">
              <a:rPr lang="de-DE"/>
              <a:pPr/>
              <a:t>‹#›</a:t>
            </a:fld>
            <a:endParaRPr lang="de-DE"/>
          </a:p>
        </p:txBody>
      </p:sp>
      <p:sp>
        <p:nvSpPr>
          <p:cNvPr id="15" name="Rectangle 14">
            <a:extLst>
              <a:ext uri="{FF2B5EF4-FFF2-40B4-BE49-F238E27FC236}">
                <a16:creationId xmlns:a16="http://schemas.microsoft.com/office/drawing/2014/main" id="{73895E4B-BC0C-3F70-908F-8BEBA93F46B2}"/>
              </a:ext>
            </a:extLst>
          </p:cNvPr>
          <p:cNvSpPr/>
          <p:nvPr userDrawn="1"/>
        </p:nvSpPr>
        <p:spPr>
          <a:xfrm>
            <a:off x="1" y="0"/>
            <a:ext cx="273265" cy="6858000"/>
          </a:xfrm>
          <a:prstGeom prst="rect">
            <a:avLst/>
          </a:prstGeom>
          <a:gradFill>
            <a:gsLst>
              <a:gs pos="100000">
                <a:srgbClr val="666666"/>
              </a:gs>
              <a:gs pos="0">
                <a:srgbClr val="808080"/>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lvl="0" defTabSz="1100639"/>
            <a:endParaRPr lang="de-DE" sz="4267">
              <a:solidFill>
                <a:srgbClr val="FFFFFF"/>
              </a:solidFill>
              <a:sym typeface="Helvetica Light"/>
            </a:endParaRPr>
          </a:p>
        </p:txBody>
      </p:sp>
      <p:sp>
        <p:nvSpPr>
          <p:cNvPr id="23" name="Freeform 22">
            <a:extLst>
              <a:ext uri="{FF2B5EF4-FFF2-40B4-BE49-F238E27FC236}">
                <a16:creationId xmlns:a16="http://schemas.microsoft.com/office/drawing/2014/main" id="{16356F92-A3EA-5C67-D8B5-87F1FBE00D4B}"/>
              </a:ext>
            </a:extLst>
          </p:cNvPr>
          <p:cNvSpPr/>
          <p:nvPr userDrawn="1"/>
        </p:nvSpPr>
        <p:spPr>
          <a:xfrm rot="9749816">
            <a:off x="7872222" y="5406945"/>
            <a:ext cx="3417303" cy="2028136"/>
          </a:xfrm>
          <a:custGeom>
            <a:avLst/>
            <a:gdLst>
              <a:gd name="connsiteX0" fmla="*/ 959218 w 2562977"/>
              <a:gd name="connsiteY0" fmla="*/ 1459279 h 1521102"/>
              <a:gd name="connsiteX1" fmla="*/ 0 w 2562977"/>
              <a:gd name="connsiteY1" fmla="*/ 145967 h 1521102"/>
              <a:gd name="connsiteX2" fmla="*/ 7049 w 2562977"/>
              <a:gd name="connsiteY2" fmla="*/ 5367 h 1521102"/>
              <a:gd name="connsiteX3" fmla="*/ 7862 w 2562977"/>
              <a:gd name="connsiteY3" fmla="*/ 0 h 1521102"/>
              <a:gd name="connsiteX4" fmla="*/ 2562977 w 2562977"/>
              <a:gd name="connsiteY4" fmla="*/ 805775 h 1521102"/>
              <a:gd name="connsiteX5" fmla="*/ 2497211 w 2562977"/>
              <a:gd name="connsiteY5" fmla="*/ 914818 h 1521102"/>
              <a:gd name="connsiteX6" fmla="*/ 1365181 w 2562977"/>
              <a:gd name="connsiteY6" fmla="*/ 1521102 h 1521102"/>
              <a:gd name="connsiteX7" fmla="*/ 959218 w 2562977"/>
              <a:gd name="connsiteY7" fmla="*/ 1459279 h 152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2977" h="1521102">
                <a:moveTo>
                  <a:pt x="959218" y="1459279"/>
                </a:moveTo>
                <a:cubicBezTo>
                  <a:pt x="403495" y="1285171"/>
                  <a:pt x="0" y="763033"/>
                  <a:pt x="0" y="145967"/>
                </a:cubicBezTo>
                <a:cubicBezTo>
                  <a:pt x="0" y="98500"/>
                  <a:pt x="2388" y="51595"/>
                  <a:pt x="7049" y="5367"/>
                </a:cubicBezTo>
                <a:lnTo>
                  <a:pt x="7862" y="0"/>
                </a:lnTo>
                <a:lnTo>
                  <a:pt x="2562977" y="805775"/>
                </a:lnTo>
                <a:lnTo>
                  <a:pt x="2497211" y="914818"/>
                </a:lnTo>
                <a:cubicBezTo>
                  <a:pt x="2251878" y="1280606"/>
                  <a:pt x="1836412" y="1521102"/>
                  <a:pt x="1365181" y="1521102"/>
                </a:cubicBezTo>
                <a:cubicBezTo>
                  <a:pt x="1223812" y="1521102"/>
                  <a:pt x="1087461" y="1499457"/>
                  <a:pt x="959218" y="1459279"/>
                </a:cubicBezTo>
                <a:close/>
              </a:path>
            </a:pathLst>
          </a:custGeom>
          <a:gradFill flip="none" rotWithShape="1">
            <a:gsLst>
              <a:gs pos="94000">
                <a:schemeClr val="tx2"/>
              </a:gs>
              <a:gs pos="16000">
                <a:schemeClr val="tx2">
                  <a:lumMod val="8500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sz="2700"/>
          </a:p>
        </p:txBody>
      </p:sp>
      <p:pic>
        <p:nvPicPr>
          <p:cNvPr id="8" name="Picture 7">
            <a:extLst>
              <a:ext uri="{FF2B5EF4-FFF2-40B4-BE49-F238E27FC236}">
                <a16:creationId xmlns:a16="http://schemas.microsoft.com/office/drawing/2014/main" id="{F1F2EBE3-99DA-B427-F532-082924ED5FD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55999" y="492833"/>
            <a:ext cx="671999" cy="671999"/>
          </a:xfrm>
          <a:prstGeom prst="rect">
            <a:avLst/>
          </a:prstGeom>
        </p:spPr>
      </p:pic>
      <p:sp>
        <p:nvSpPr>
          <p:cNvPr id="2" name="Текст 7">
            <a:extLst>
              <a:ext uri="{FF2B5EF4-FFF2-40B4-BE49-F238E27FC236}">
                <a16:creationId xmlns:a16="http://schemas.microsoft.com/office/drawing/2014/main" id="{4E25D1E9-E14A-980C-94BD-7F98D6490423}"/>
              </a:ext>
            </a:extLst>
          </p:cNvPr>
          <p:cNvSpPr>
            <a:spLocks noGrp="1"/>
          </p:cNvSpPr>
          <p:nvPr>
            <p:ph type="body" sz="quarter" idx="64" hasCustomPrompt="1"/>
          </p:nvPr>
        </p:nvSpPr>
        <p:spPr>
          <a:xfrm>
            <a:off x="927100" y="2017754"/>
            <a:ext cx="10306050"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accent6"/>
                </a:solidFill>
                <a:effectLst/>
                <a:latin typeface="HEINEKEN Core" panose="02000503050000020004" pitchFamily="2" charset="0"/>
              </a:defRPr>
            </a:lvl1pPr>
            <a:lvl2pPr marL="180975" indent="-180975" algn="l">
              <a:lnSpc>
                <a:spcPct val="120000"/>
              </a:lnSpc>
              <a:spcAft>
                <a:spcPts val="500"/>
              </a:spcAft>
              <a:defRPr>
                <a:solidFill>
                  <a:schemeClr val="accent6"/>
                </a:solidFill>
              </a:defRPr>
            </a:lvl2pPr>
            <a:lvl3pPr marL="357188" indent="-180975" algn="l">
              <a:lnSpc>
                <a:spcPct val="120000"/>
              </a:lnSpc>
              <a:spcAft>
                <a:spcPts val="500"/>
              </a:spcAft>
              <a:defRPr>
                <a:solidFill>
                  <a:schemeClr val="accent6"/>
                </a:solidFill>
              </a:defRPr>
            </a:lvl3pPr>
            <a:lvl4pPr marL="538163" indent="-180975" algn="l">
              <a:lnSpc>
                <a:spcPct val="120000"/>
              </a:lnSpc>
              <a:spcAft>
                <a:spcPts val="500"/>
              </a:spcAft>
              <a:defRPr>
                <a:solidFill>
                  <a:schemeClr val="accent6"/>
                </a:solidFill>
              </a:defRPr>
            </a:lvl4pPr>
            <a:lvl5pPr marL="717550" indent="-180975" algn="l">
              <a:lnSpc>
                <a:spcPct val="120000"/>
              </a:lnSpc>
              <a:spcAft>
                <a:spcPts val="500"/>
              </a:spcAft>
              <a:defRPr>
                <a:solidFill>
                  <a:schemeClr val="accent6"/>
                </a:solidFill>
              </a:defRPr>
            </a:lvl5pPr>
          </a:lstStyle>
          <a:p>
            <a:r>
              <a:rPr lang="en-US"/>
              <a:t>Text here</a:t>
            </a:r>
          </a:p>
          <a:p>
            <a:pPr lvl="1"/>
            <a:r>
              <a:rPr lang="en-US"/>
              <a:t>Level 2</a:t>
            </a:r>
          </a:p>
          <a:p>
            <a:pPr lvl="2"/>
            <a:r>
              <a:rPr lang="en-US"/>
              <a:t>Level 3</a:t>
            </a:r>
          </a:p>
          <a:p>
            <a:pPr lvl="3"/>
            <a:r>
              <a:rPr lang="en-US"/>
              <a:t>Level 4</a:t>
            </a:r>
          </a:p>
          <a:p>
            <a:pPr lvl="4"/>
            <a:r>
              <a:rPr lang="en-US"/>
              <a:t>Level 5</a:t>
            </a:r>
          </a:p>
        </p:txBody>
      </p:sp>
    </p:spTree>
    <p:extLst>
      <p:ext uri="{BB962C8B-B14F-4D97-AF65-F5344CB8AC3E}">
        <p14:creationId xmlns:p14="http://schemas.microsoft.com/office/powerpoint/2010/main" val="1821602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Grey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431760-5301-6D87-BE8A-F92D55CDD78E}"/>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1ABDA187-2D29-87B9-274C-1BC6C4EFDC87}"/>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7D014850-D49A-E66D-B1C6-F3BCAACB426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234188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920" userDrawn="1">
          <p15:clr>
            <a:srgbClr val="FBAE40"/>
          </p15:clr>
        </p15:guide>
        <p15:guide id="4" orient="horz" pos="3460" userDrawn="1">
          <p15:clr>
            <a:srgbClr val="FBAE40"/>
          </p15:clr>
        </p15:guide>
        <p15:guide id="5"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Empty with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itle 5"/>
          <p:cNvSpPr txBox="1">
            <a:spLocks/>
          </p:cNvSpPr>
          <p:nvPr userDrawn="1"/>
        </p:nvSpPr>
        <p:spPr>
          <a:xfrm>
            <a:off x="11716028" y="6434185"/>
            <a:ext cx="509475" cy="398508"/>
          </a:xfrm>
          <a:prstGeom prst="rect">
            <a:avLst/>
          </a:prstGeom>
        </p:spPr>
        <p:txBody>
          <a:bodyPr anchor="b"/>
          <a:lstStyle>
            <a:lvl1pPr algn="ctr" defTabSz="1219170" rtl="0" eaLnBrk="1" latinLnBrk="0" hangingPunct="1">
              <a:spcBef>
                <a:spcPct val="0"/>
              </a:spcBef>
              <a:buNone/>
              <a:defRPr sz="3733" kern="1200">
                <a:solidFill>
                  <a:schemeClr val="tx2"/>
                </a:solidFill>
                <a:latin typeface="+mn-lt"/>
                <a:ea typeface="+mj-ea"/>
                <a:cs typeface="+mj-cs"/>
              </a:defRPr>
            </a:lvl1pPr>
          </a:lstStyle>
          <a:p>
            <a:pPr algn="r"/>
            <a:endParaRPr lang="en-US" sz="1200" b="1" noProof="0">
              <a:solidFill>
                <a:schemeClr val="bg1"/>
              </a:solidFill>
              <a:latin typeface="+mj-lt"/>
              <a:cs typeface="Calibri Light" panose="020F0302020204030204" pitchFamily="34" charset="0"/>
            </a:endParaRPr>
          </a:p>
        </p:txBody>
      </p:sp>
      <p:sp>
        <p:nvSpPr>
          <p:cNvPr id="16" name="Marcador de texto 7"/>
          <p:cNvSpPr>
            <a:spLocks noGrp="1"/>
          </p:cNvSpPr>
          <p:nvPr>
            <p:ph type="body" sz="quarter" idx="16" hasCustomPrompt="1"/>
          </p:nvPr>
        </p:nvSpPr>
        <p:spPr>
          <a:xfrm>
            <a:off x="304800" y="152400"/>
            <a:ext cx="11799425" cy="464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buNone/>
              <a:defRPr lang="en-US" sz="2000" b="1" cap="all" baseline="0" noProof="0" dirty="0">
                <a:solidFill>
                  <a:schemeClr val="tx2"/>
                </a:solidFill>
                <a:ea typeface="+mj-ea"/>
                <a:cs typeface="+mj-cs"/>
              </a:defRPr>
            </a:lvl1pPr>
          </a:lstStyle>
          <a:p>
            <a:pPr lvl="0">
              <a:lnSpc>
                <a:spcPct val="100000"/>
              </a:lnSpc>
            </a:pPr>
            <a:r>
              <a:rPr lang="en-US" noProof="0"/>
              <a:t>Slide Title</a:t>
            </a:r>
          </a:p>
        </p:txBody>
      </p:sp>
      <p:sp>
        <p:nvSpPr>
          <p:cNvPr id="6" name="Slide Number Placeholder 2">
            <a:extLst>
              <a:ext uri="{FF2B5EF4-FFF2-40B4-BE49-F238E27FC236}">
                <a16:creationId xmlns:a16="http://schemas.microsoft.com/office/drawing/2014/main" id="{6BC41B74-16FC-4283-8BED-C24718F2974E}"/>
              </a:ext>
            </a:extLst>
          </p:cNvPr>
          <p:cNvSpPr>
            <a:spLocks noGrp="1"/>
          </p:cNvSpPr>
          <p:nvPr>
            <p:ph type="sldNum" sz="quarter" idx="10"/>
          </p:nvPr>
        </p:nvSpPr>
        <p:spPr>
          <a:xfrm>
            <a:off x="463551" y="6314638"/>
            <a:ext cx="960967" cy="360362"/>
          </a:xfrm>
        </p:spPr>
        <p:txBody>
          <a:bodyPr/>
          <a:lstStyle>
            <a:lvl1pPr>
              <a:defRPr sz="1000"/>
            </a:lvl1pPr>
          </a:lstStyle>
          <a:p>
            <a:fld id="{AFCE829D-CFE5-4030-8F29-589686D67276}"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1767862193"/>
      </p:ext>
    </p:extLst>
  </p:cSld>
  <p:clrMapOvr>
    <a:masterClrMapping/>
  </p:clrMapOvr>
  <p:extLst>
    <p:ext uri="{DCECCB84-F9BA-43D5-87BE-67443E8EF086}">
      <p15:sldGuideLst xmlns:p15="http://schemas.microsoft.com/office/powerpoint/2012/main">
        <p15:guide id="1" orient="horz" pos="411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237888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Main Content Slide 1">
    <p:spTree>
      <p:nvGrpSpPr>
        <p:cNvPr id="1" name=""/>
        <p:cNvGrpSpPr/>
        <p:nvPr/>
      </p:nvGrpSpPr>
      <p:grpSpPr>
        <a:xfrm>
          <a:off x="0" y="0"/>
          <a:ext cx="0" cy="0"/>
          <a:chOff x="0" y="0"/>
          <a:chExt cx="0" cy="0"/>
        </a:xfrm>
      </p:grpSpPr>
      <p:sp>
        <p:nvSpPr>
          <p:cNvPr id="2" name="Rectangle 1"/>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66534" y="5845883"/>
            <a:ext cx="12058933" cy="710314"/>
          </a:xfrm>
          <a:prstGeom prst="rect">
            <a:avLst/>
          </a:prstGeom>
        </p:spPr>
      </p:pic>
      <p:pic>
        <p:nvPicPr>
          <p:cNvPr id="15"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6696" y="6368731"/>
            <a:ext cx="1133805" cy="262545"/>
          </a:xfrm>
          <a:prstGeom prst="rect">
            <a:avLst/>
          </a:prstGeom>
        </p:spPr>
      </p:pic>
      <p:sp>
        <p:nvSpPr>
          <p:cNvPr id="13" name="Title 1"/>
          <p:cNvSpPr>
            <a:spLocks noGrp="1"/>
          </p:cNvSpPr>
          <p:nvPr>
            <p:ph type="title" hasCustomPrompt="1"/>
          </p:nvPr>
        </p:nvSpPr>
        <p:spPr>
          <a:xfrm>
            <a:off x="528423" y="138863"/>
            <a:ext cx="11147640"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dirty="0"/>
              <a:t>Click to edit the main title</a:t>
            </a:r>
            <a:endParaRPr lang="en-US" dirty="0"/>
          </a:p>
        </p:txBody>
      </p:sp>
      <p:sp>
        <p:nvSpPr>
          <p:cNvPr id="18" name="Text Placeholder 17"/>
          <p:cNvSpPr>
            <a:spLocks noGrp="1"/>
          </p:cNvSpPr>
          <p:nvPr>
            <p:ph type="body" sz="quarter" idx="13" hasCustomPrompt="1"/>
          </p:nvPr>
        </p:nvSpPr>
        <p:spPr>
          <a:xfrm>
            <a:off x="528423" y="864725"/>
            <a:ext cx="11147640"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dirty="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xt Placeholder 3">
            <a:extLst>
              <a:ext uri="{FF2B5EF4-FFF2-40B4-BE49-F238E27FC236}">
                <a16:creationId xmlns:a16="http://schemas.microsoft.com/office/drawing/2014/main" id="{CEB8C5A4-D4FA-4A4C-9601-D7C19D2F5353}"/>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0" name="Slide Number Placeholder 3">
            <a:extLst>
              <a:ext uri="{FF2B5EF4-FFF2-40B4-BE49-F238E27FC236}">
                <a16:creationId xmlns:a16="http://schemas.microsoft.com/office/drawing/2014/main" id="{461AC9B0-D598-42AB-BF80-7A0B9A6E87CA}"/>
              </a:ext>
            </a:extLst>
          </p:cNvPr>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22" name="TextBox 21">
            <a:extLst>
              <a:ext uri="{FF2B5EF4-FFF2-40B4-BE49-F238E27FC236}">
                <a16:creationId xmlns:a16="http://schemas.microsoft.com/office/drawing/2014/main" id="{56629C7A-20A5-4A9C-9461-E083288D062F}"/>
              </a:ext>
            </a:extLst>
          </p:cNvPr>
          <p:cNvSpPr txBox="1"/>
          <p:nvPr userDrawn="1"/>
        </p:nvSpPr>
        <p:spPr>
          <a:xfrm>
            <a:off x="1421805" y="6342834"/>
            <a:ext cx="2880917" cy="369332"/>
          </a:xfrm>
          <a:prstGeom prst="rect">
            <a:avLst/>
          </a:prstGeom>
          <a:noFill/>
        </p:spPr>
        <p:txBody>
          <a:bodyPr wrap="none" rtlCol="0">
            <a:spAutoFit/>
          </a:bodyPr>
          <a:lstStyle/>
          <a:p>
            <a:r>
              <a:rPr lang="nl-NL" b="1" dirty="0">
                <a:solidFill>
                  <a:srgbClr val="D3D3D3"/>
                </a:solidFill>
                <a:latin typeface="HEINEKEN Core" panose="02000503050000020004" pitchFamily="2" charset="0"/>
              </a:rPr>
              <a:t>Master Data Management</a:t>
            </a:r>
            <a:endParaRPr lang="en-GB" b="1" dirty="0">
              <a:solidFill>
                <a:srgbClr val="D3D3D3"/>
              </a:solidFill>
              <a:latin typeface="HEINEKEN Core" panose="02000503050000020004" pitchFamily="2" charset="0"/>
            </a:endParaRPr>
          </a:p>
        </p:txBody>
      </p:sp>
      <p:pic>
        <p:nvPicPr>
          <p:cNvPr id="23" name="Picture 22">
            <a:extLst>
              <a:ext uri="{FF2B5EF4-FFF2-40B4-BE49-F238E27FC236}">
                <a16:creationId xmlns:a16="http://schemas.microsoft.com/office/drawing/2014/main" id="{2304ADA2-7575-41FC-A8FC-F7F1794B427A}"/>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378782900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13">
          <p15:clr>
            <a:srgbClr val="FBAE40"/>
          </p15:clr>
        </p15:guide>
        <p15:guide id="4" orient="horz" pos="3861">
          <p15:clr>
            <a:srgbClr val="FBAE40"/>
          </p15:clr>
        </p15:guide>
        <p15:guide id="5" pos="325">
          <p15:clr>
            <a:srgbClr val="FBAE40"/>
          </p15:clr>
        </p15:guide>
        <p15:guide id="6" pos="735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accent1"/>
        </a:solidFill>
        <a:effectLst/>
      </p:bgPr>
    </p:bg>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40BCDEC3-1613-A6EF-E62C-1A9E8082DFB1}"/>
              </a:ext>
            </a:extLst>
          </p:cNvPr>
          <p:cNvSpPr>
            <a:spLocks noGrp="1"/>
          </p:cNvSpPr>
          <p:nvPr>
            <p:ph type="pic" sz="quarter" idx="14"/>
          </p:nvPr>
        </p:nvSpPr>
        <p:spPr>
          <a:xfrm>
            <a:off x="7419698" y="0"/>
            <a:ext cx="4772305" cy="6858000"/>
          </a:xfrm>
          <a:custGeom>
            <a:avLst/>
            <a:gdLst>
              <a:gd name="connsiteX0" fmla="*/ 0 w 3579229"/>
              <a:gd name="connsiteY0" fmla="*/ 0 h 5143500"/>
              <a:gd name="connsiteX1" fmla="*/ 3579229 w 3579229"/>
              <a:gd name="connsiteY1" fmla="*/ 0 h 5143500"/>
              <a:gd name="connsiteX2" fmla="*/ 3579229 w 3579229"/>
              <a:gd name="connsiteY2" fmla="*/ 5143500 h 5143500"/>
              <a:gd name="connsiteX3" fmla="*/ 11237 w 3579229"/>
              <a:gd name="connsiteY3" fmla="*/ 5143500 h 5143500"/>
              <a:gd name="connsiteX4" fmla="*/ 913896 w 3579229"/>
              <a:gd name="connsiteY4" fmla="*/ 2579654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229" h="5143500">
                <a:moveTo>
                  <a:pt x="0" y="0"/>
                </a:moveTo>
                <a:lnTo>
                  <a:pt x="3579229" y="0"/>
                </a:lnTo>
                <a:lnTo>
                  <a:pt x="3579229" y="5143500"/>
                </a:lnTo>
                <a:lnTo>
                  <a:pt x="11237" y="5143500"/>
                </a:lnTo>
                <a:lnTo>
                  <a:pt x="913896" y="2579654"/>
                </a:lnTo>
                <a:close/>
              </a:path>
            </a:pathLst>
          </a:custGeom>
          <a:solidFill>
            <a:schemeClr val="bg2">
              <a:alpha val="10000"/>
            </a:schemeClr>
          </a:solidFill>
        </p:spPr>
        <p:txBody>
          <a:bodyPr wrap="square" lIns="180000" tIns="180000" rIns="180000" bIns="180000">
            <a:noAutofit/>
          </a:bodyPr>
          <a:lstStyle>
            <a:lvl1pPr algn="r">
              <a:defRPr>
                <a:solidFill>
                  <a:schemeClr val="tx1"/>
                </a:solidFill>
              </a:defRPr>
            </a:lvl1pPr>
          </a:lstStyle>
          <a:p>
            <a:endParaRPr lang="de-DE"/>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p:custDataLst>
              <p:tags r:id="rId1"/>
            </p:custDataLst>
            <p:extLst>
              <p:ext uri="{D42A27DB-BD31-4B8C-83A1-F6EECF244321}">
                <p14:modId xmlns:p14="http://schemas.microsoft.com/office/powerpoint/2010/main" val="34159520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2" y="4677075"/>
            <a:ext cx="720352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latin typeface="HEINEKEN Core" panose="02000503050000020004" pitchFamily="2" charset="0"/>
                <a:sym typeface="HEINEKEN Core" panose="02000503050000020004" pitchFamily="2" charset="0"/>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170406"/>
            <a:ext cx="720352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3355961"/>
            <a:ext cx="7203527"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000"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2" name="Footer Placeholder 8">
            <a:extLst>
              <a:ext uri="{FF2B5EF4-FFF2-40B4-BE49-F238E27FC236}">
                <a16:creationId xmlns:a16="http://schemas.microsoft.com/office/drawing/2014/main" id="{5A723EB9-3F47-482D-A461-32793B3E26A6}"/>
              </a:ext>
            </a:extLst>
          </p:cNvPr>
          <p:cNvSpPr>
            <a:spLocks noGrp="1"/>
          </p:cNvSpPr>
          <p:nvPr>
            <p:ph type="ftr" sz="quarter" idx="3"/>
          </p:nvPr>
        </p:nvSpPr>
        <p:spPr>
          <a:xfrm>
            <a:off x="2431413" y="6446580"/>
            <a:ext cx="64" cy="184666"/>
          </a:xfrm>
          <a:prstGeom prst="rect">
            <a:avLst/>
          </a:prstGeom>
        </p:spPr>
        <p:txBody>
          <a:bodyPr vert="horz" wrap="none" lIns="0" tIns="0" rIns="0" bIns="0" rtlCol="0" anchor="ctr">
            <a:spAutoFit/>
          </a:bodyPr>
          <a:lstStyle>
            <a:lvl1pPr algn="ctr" rtl="0">
              <a:defRPr sz="1200">
                <a:solidFill>
                  <a:schemeClr val="tx1"/>
                </a:solidFill>
                <a:latin typeface="HEINEKEN Core" panose="02000503050000020004" pitchFamily="2" charset="0"/>
                <a:sym typeface="HEINEKEN Core" panose="02000503050000020004" pitchFamily="2" charset="0"/>
              </a:defRPr>
            </a:lvl1pPr>
          </a:lstStyle>
          <a:p>
            <a:endParaRPr lang="en-US"/>
          </a:p>
        </p:txBody>
      </p:sp>
      <p:sp>
        <p:nvSpPr>
          <p:cNvPr id="3" name="Slide Number Placeholder 1">
            <a:extLst>
              <a:ext uri="{FF2B5EF4-FFF2-40B4-BE49-F238E27FC236}">
                <a16:creationId xmlns:a16="http://schemas.microsoft.com/office/drawing/2014/main" id="{D864435E-DAFF-01F6-1205-1A66ED5A6B8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7214236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egacy white">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BB1E31CD-261F-582B-0B08-26920C67EDC4}"/>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396904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Green [Gradient]">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tx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6FEB4DF1-5FE4-EEF6-38DF-5E34330B2E0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873689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22941712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629100"/>
            <a:ext cx="110825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51990"/>
            <a:ext cx="11082528" cy="276999"/>
          </a:xfrm>
          <a:prstGeom prst="rect">
            <a:avLst/>
          </a:prstGeom>
        </p:spPr>
        <p:txBody>
          <a:bodyPr vert="horz" wrap="square" lIns="0" tIns="0" rIns="0" bIns="0" rtlCol="0">
            <a:spAutoFit/>
          </a:bodyPr>
          <a:lstStyle>
            <a:lvl1pPr rtl="0">
              <a:defRPr lang="en-US" sz="1800" b="0" dirty="0">
                <a:latin typeface="HEINEKEN Core" panose="02000503050000020004" pitchFamily="2" charset="0"/>
                <a:sym typeface="HEINEKEN Core" panose="02000503050000020004" pitchFamily="2" charset="0"/>
              </a:defRPr>
            </a:lvl1pPr>
          </a:lstStyle>
          <a:p>
            <a:pPr lvl="0">
              <a:buNone/>
            </a:pPr>
            <a:r>
              <a:rPr lang="nl-NL"/>
              <a:t>Klikken om de ondertitelstijl van het model te bewerken</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6" y="649875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6CE4CC53-9CE9-8869-51D1-C1AFB00F22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4607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p:custDataLst>
              <p:tags r:id="rId1"/>
            </p:custDataLst>
            <p:extLst>
              <p:ext uri="{D42A27DB-BD31-4B8C-83A1-F6EECF244321}">
                <p14:modId xmlns:p14="http://schemas.microsoft.com/office/powerpoint/2010/main" val="51305044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5"/>
            <a:ext cx="3813048" cy="410433"/>
          </a:xfrm>
          <a:prstGeom prst="rect">
            <a:avLst/>
          </a:prstGeom>
        </p:spPr>
        <p:txBody>
          <a:bodyPr vert="horz" anchor="t">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6" name="5. Source" hidden="1">
            <a:extLst>
              <a:ext uri="{FF2B5EF4-FFF2-40B4-BE49-F238E27FC236}">
                <a16:creationId xmlns:a16="http://schemas.microsoft.com/office/drawing/2014/main" id="{33F722E2-991C-4728-97C9-8D281DB3C594}"/>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1958A1F4-64F8-EE81-C7B0-4B622C9F36B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361057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p:custDataLst>
              <p:tags r:id="rId1"/>
            </p:custDataLst>
            <p:extLst>
              <p:ext uri="{D42A27DB-BD31-4B8C-83A1-F6EECF244321}">
                <p14:modId xmlns:p14="http://schemas.microsoft.com/office/powerpoint/2010/main" val="6500584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23785"/>
            <a:ext cx="5065776" cy="410433"/>
          </a:xfrm>
          <a:prstGeom prst="rect">
            <a:avLst/>
          </a:prstGeom>
        </p:spPr>
        <p:txBody>
          <a:bodyPr vert="horz" rIns="365760" anchor="ctr">
            <a:spAutoFit/>
          </a:bodyPr>
          <a:lstStyle>
            <a:lvl1pPr rtl="0">
              <a:defRPr>
                <a:ln w="6350" cap="flat">
                  <a:noFill/>
                  <a:miter lim="800000"/>
                </a:ln>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4"/>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6" name="Slide Number Placeholder 1">
            <a:extLst>
              <a:ext uri="{FF2B5EF4-FFF2-40B4-BE49-F238E27FC236}">
                <a16:creationId xmlns:a16="http://schemas.microsoft.com/office/drawing/2014/main" id="{31BB8892-1691-D909-AB18-941EDC6A6B0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485591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p:custDataLst>
              <p:tags r:id="rId1"/>
            </p:custDataLst>
            <p:extLst>
              <p:ext uri="{D42A27DB-BD31-4B8C-83A1-F6EECF244321}">
                <p14:modId xmlns:p14="http://schemas.microsoft.com/office/powerpoint/2010/main" val="22090257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718969"/>
            <a:ext cx="11082528" cy="538609"/>
          </a:xfrm>
        </p:spPr>
        <p:txBody>
          <a:bodyPr vert="horz" anchor="b">
            <a:spAutoFit/>
          </a:bodyPr>
          <a:lstStyle>
            <a:lvl1pPr>
              <a:lnSpc>
                <a:spcPct val="100000"/>
              </a:lnSpc>
              <a:defRPr sz="3500">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6" name="5. Source" hidden="1">
            <a:extLst>
              <a:ext uri="{FF2B5EF4-FFF2-40B4-BE49-F238E27FC236}">
                <a16:creationId xmlns:a16="http://schemas.microsoft.com/office/drawing/2014/main" id="{B871FE09-BB6E-4334-B0EA-E52395AA61B3}"/>
              </a:ext>
            </a:extLst>
          </p:cNvPr>
          <p:cNvSpPr txBox="1"/>
          <p:nvPr>
            <p:custDataLst>
              <p:tags r:id="rId4"/>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4E44FB6C-17C1-6A36-6F70-29EDD7C4FB9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458292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Grey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8DA0A-5DF9-F3A1-B191-7C09059DB81A}"/>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cap="none" spc="0" baseline="0">
                <a:solidFill>
                  <a:schemeClr val="tx1"/>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bg1"/>
                </a:solidFill>
                <a:latin typeface="HEINEKEN Core" panose="02000503050000020004" pitchFamily="2" charset="0"/>
              </a:defRPr>
            </a:lvl1pPr>
          </a:lstStyle>
          <a:p>
            <a:pPr lvl="0"/>
            <a:r>
              <a:rPr lang="nl-NL"/>
              <a:t>Name presenter</a:t>
            </a:r>
          </a:p>
        </p:txBody>
      </p:sp>
      <p:sp>
        <p:nvSpPr>
          <p:cNvPr id="5" name="Vrije vorm: vorm 6">
            <a:extLst>
              <a:ext uri="{FF2B5EF4-FFF2-40B4-BE49-F238E27FC236}">
                <a16:creationId xmlns:a16="http://schemas.microsoft.com/office/drawing/2014/main" id="{EDD1F533-45BA-D2E1-1E58-8A8792C2AFB2}"/>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6" name="Picture 5" descr="A picture containing text, vector graphics&#10;&#10;Description automatically generated">
            <a:extLst>
              <a:ext uri="{FF2B5EF4-FFF2-40B4-BE49-F238E27FC236}">
                <a16:creationId xmlns:a16="http://schemas.microsoft.com/office/drawing/2014/main" id="{E8CA1486-D825-CC63-C5FC-C3B0A070AB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174467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p:custDataLst>
              <p:tags r:id="rId1"/>
            </p:custDataLst>
            <p:extLst>
              <p:ext uri="{D42A27DB-BD31-4B8C-83A1-F6EECF244321}">
                <p14:modId xmlns:p14="http://schemas.microsoft.com/office/powerpoint/2010/main" val="7245758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30"/>
            <a:ext cx="9180576" cy="523220"/>
          </a:xfrm>
          <a:prstGeom prst="rect">
            <a:avLst/>
          </a:prstGeom>
        </p:spPr>
        <p:txBody>
          <a:bodyPr vert="horz">
            <a:spAutoFit/>
          </a:bodyPr>
          <a:lstStyle>
            <a:lvl1pPr>
              <a:lnSpc>
                <a:spcPct val="105000"/>
              </a:lnSpc>
              <a:defRPr sz="3400">
                <a:latin typeface="HEINEKEN Core" panose="02000503050000020004" pitchFamily="2" charset="0"/>
                <a:sym typeface="HEINEKEN Core" panose="02000503050000020004" pitchFamily="2" charset="0"/>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1"/>
            <a:ext cx="91805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4" name="Slide Number Placeholder 1">
            <a:extLst>
              <a:ext uri="{FF2B5EF4-FFF2-40B4-BE49-F238E27FC236}">
                <a16:creationId xmlns:a16="http://schemas.microsoft.com/office/drawing/2014/main" id="{CDAC0F49-912F-D72F-E398-B23A32442880}"/>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95200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1/4">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70982331-002C-77F7-F784-6EB0D485922C}"/>
              </a:ext>
            </a:extLst>
          </p:cNvPr>
          <p:cNvSpPr/>
          <p:nvPr userDrawn="1"/>
        </p:nvSpPr>
        <p:spPr>
          <a:xfrm>
            <a:off x="3413761" y="0"/>
            <a:ext cx="8778241" cy="6858000"/>
          </a:xfrm>
          <a:prstGeom prst="rect">
            <a:avLst/>
          </a:prstGeom>
          <a:gradFill>
            <a:gsLst>
              <a:gs pos="21000">
                <a:schemeClr val="accent3">
                  <a:lumMod val="85000"/>
                </a:schemeClr>
              </a:gs>
              <a:gs pos="92000">
                <a:schemeClr val="accent3"/>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35943701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CB79E855-070A-E9B2-65A1-9F359302C8C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0146183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1/3">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AA7789E7-D657-2558-B2D0-D1636D953C51}"/>
              </a:ext>
            </a:extLst>
          </p:cNvPr>
          <p:cNvSpPr/>
          <p:nvPr userDrawn="1"/>
        </p:nvSpPr>
        <p:spPr>
          <a:xfrm>
            <a:off x="4364737" y="0"/>
            <a:ext cx="7827265"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1118228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rtl="0">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FCF66F7D-CB57-FA3D-C8EA-7C34BD2776BE}"/>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41427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1/2">
    <p:spTree>
      <p:nvGrpSpPr>
        <p:cNvPr id="1" name=""/>
        <p:cNvGrpSpPr/>
        <p:nvPr/>
      </p:nvGrpSpPr>
      <p:grpSpPr>
        <a:xfrm>
          <a:off x="0" y="0"/>
          <a:ext cx="0" cy="0"/>
          <a:chOff x="0" y="0"/>
          <a:chExt cx="0" cy="0"/>
        </a:xfrm>
      </p:grpSpPr>
      <p:sp>
        <p:nvSpPr>
          <p:cNvPr id="17" name="Rechthoek 16">
            <a:extLst>
              <a:ext uri="{FF2B5EF4-FFF2-40B4-BE49-F238E27FC236}">
                <a16:creationId xmlns:a16="http://schemas.microsoft.com/office/drawing/2014/main" id="{91BDEE87-5539-D930-A635-EBB65801BACA}"/>
              </a:ext>
            </a:extLst>
          </p:cNvPr>
          <p:cNvSpPr/>
          <p:nvPr userDrawn="1"/>
        </p:nvSpPr>
        <p:spPr>
          <a:xfrm>
            <a:off x="6089905" y="0"/>
            <a:ext cx="6102096"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2621174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27248475-D28B-89BC-BA9D-94790F6ABA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129240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2/3">
    <p:spTree>
      <p:nvGrpSpPr>
        <p:cNvPr id="1" name=""/>
        <p:cNvGrpSpPr/>
        <p:nvPr/>
      </p:nvGrpSpPr>
      <p:grpSpPr>
        <a:xfrm>
          <a:off x="0" y="0"/>
          <a:ext cx="0" cy="0"/>
          <a:chOff x="0" y="0"/>
          <a:chExt cx="0" cy="0"/>
        </a:xfrm>
      </p:grpSpPr>
      <p:sp>
        <p:nvSpPr>
          <p:cNvPr id="22" name="Rechthoek 21">
            <a:extLst>
              <a:ext uri="{FF2B5EF4-FFF2-40B4-BE49-F238E27FC236}">
                <a16:creationId xmlns:a16="http://schemas.microsoft.com/office/drawing/2014/main" id="{1A3BAE26-E557-158D-4B7C-ADCB855A7FC8}"/>
              </a:ext>
            </a:extLst>
          </p:cNvPr>
          <p:cNvSpPr/>
          <p:nvPr userDrawn="1"/>
        </p:nvSpPr>
        <p:spPr>
          <a:xfrm>
            <a:off x="7830312" y="0"/>
            <a:ext cx="4361689"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4197597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DA564E77-8A8F-056E-C4B8-0147C5BBA53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1152645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3/4 ">
    <p:spTree>
      <p:nvGrpSpPr>
        <p:cNvPr id="1" name=""/>
        <p:cNvGrpSpPr/>
        <p:nvPr/>
      </p:nvGrpSpPr>
      <p:grpSpPr>
        <a:xfrm>
          <a:off x="0" y="0"/>
          <a:ext cx="0" cy="0"/>
          <a:chOff x="0" y="0"/>
          <a:chExt cx="0" cy="0"/>
        </a:xfrm>
      </p:grpSpPr>
      <p:sp>
        <p:nvSpPr>
          <p:cNvPr id="15" name="Rechthoek 14">
            <a:extLst>
              <a:ext uri="{FF2B5EF4-FFF2-40B4-BE49-F238E27FC236}">
                <a16:creationId xmlns:a16="http://schemas.microsoft.com/office/drawing/2014/main" id="{AA70E0BB-084F-C80E-00DE-D79D7EB36508}"/>
              </a:ext>
            </a:extLst>
          </p:cNvPr>
          <p:cNvSpPr/>
          <p:nvPr userDrawn="1"/>
        </p:nvSpPr>
        <p:spPr>
          <a:xfrm>
            <a:off x="8781416" y="0"/>
            <a:ext cx="3410584" cy="6858000"/>
          </a:xfrm>
          <a:prstGeom prst="rect">
            <a:avLst/>
          </a:prstGeom>
          <a:gradFill>
            <a:gsLst>
              <a:gs pos="21000">
                <a:schemeClr val="accent3">
                  <a:lumMod val="85000"/>
                </a:schemeClr>
              </a:gs>
              <a:gs pos="92000">
                <a:schemeClr val="tx2"/>
              </a:gs>
            </a:gsLst>
            <a:lin ang="162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de-DE" sz="2133"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5904804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rtl="0">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rtl="0">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9EA038F4-AB88-E6A4-16C3-0AA811EEF72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3339782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FF7BA1CB-903D-0C45-72AA-670F7CEC1353}"/>
              </a:ext>
            </a:extLst>
          </p:cNvPr>
          <p:cNvSpPr>
            <a:spLocks noGrp="1"/>
          </p:cNvSpPr>
          <p:nvPr>
            <p:ph type="pic" sz="quarter" idx="12"/>
          </p:nvPr>
        </p:nvSpPr>
        <p:spPr>
          <a:xfrm>
            <a:off x="3413760" y="0"/>
            <a:ext cx="8778240"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28661501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70"/>
            <a:ext cx="2514600" cy="769441"/>
          </a:xfrm>
        </p:spPr>
        <p:txBody>
          <a:bodyPr vert="horz" anchor="b">
            <a:noAutofit/>
          </a:bodyPr>
          <a:lstStyle>
            <a:lvl1pPr>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5"/>
            <a:ext cx="2514600" cy="553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25B2DE14-9B3F-4199-B082-9FEB12CE57EA}"/>
              </a:ext>
            </a:extLst>
          </p:cNvPr>
          <p:cNvSpPr txBox="1">
            <a:spLocks/>
          </p:cNvSpPr>
          <p:nvPr>
            <p:custDataLst>
              <p:tags r:id="rId5"/>
            </p:custDataLst>
          </p:nvPr>
        </p:nvSpPr>
        <p:spPr>
          <a:xfrm>
            <a:off x="554735" y="6501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7" y="41598"/>
            <a:ext cx="2514601"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A72D242B-ED88-0FF1-C804-4DC4537A00B7}"/>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786200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16" name="Tijdelijke aanduiding voor afbeelding 23">
            <a:extLst>
              <a:ext uri="{FF2B5EF4-FFF2-40B4-BE49-F238E27FC236}">
                <a16:creationId xmlns:a16="http://schemas.microsoft.com/office/drawing/2014/main" id="{8233851F-9E32-ABD6-024B-093CB91B4F16}"/>
              </a:ext>
            </a:extLst>
          </p:cNvPr>
          <p:cNvSpPr>
            <a:spLocks noGrp="1"/>
          </p:cNvSpPr>
          <p:nvPr>
            <p:ph type="pic" sz="quarter" idx="12"/>
          </p:nvPr>
        </p:nvSpPr>
        <p:spPr>
          <a:xfrm>
            <a:off x="4364736" y="0"/>
            <a:ext cx="7827264"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7579615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3"/>
            </p:custDataLst>
          </p:nvPr>
        </p:nvSpPr>
        <p:spPr>
          <a:xfrm>
            <a:off x="554736" y="2744370"/>
            <a:ext cx="3465576" cy="769441"/>
          </a:xfrm>
          <a:prstGeom prst="rect">
            <a:avLst/>
          </a:prstGeom>
        </p:spPr>
        <p:txBody>
          <a:bodyPr vert="horz" wrap="square" anchor="b">
            <a:noAutofit/>
          </a:bodyPr>
          <a:lstStyle>
            <a:lvl1pPr algn="l">
              <a:defRPr>
                <a:solidFill>
                  <a:schemeClr val="tx1"/>
                </a:solidFill>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7" y="3659646"/>
            <a:ext cx="3465575"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DA204BE1-D5C8-4D03-9090-21D41FEC78E0}"/>
              </a:ext>
            </a:extLst>
          </p:cNvPr>
          <p:cNvSpPr txBox="1">
            <a:spLocks/>
          </p:cNvSpPr>
          <p:nvPr>
            <p:custDataLst>
              <p:tags r:id="rId5"/>
            </p:custDataLst>
          </p:nvPr>
        </p:nvSpPr>
        <p:spPr>
          <a:xfrm>
            <a:off x="554737"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EB01AE8E-9E97-DD92-899D-0F4DAFB5DA7F}"/>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881749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97C45A9F-41EB-DE4D-0408-E1A792E7A7FF}"/>
              </a:ext>
            </a:extLst>
          </p:cNvPr>
          <p:cNvSpPr>
            <a:spLocks noGrp="1"/>
          </p:cNvSpPr>
          <p:nvPr>
            <p:ph type="pic" sz="quarter" idx="12"/>
          </p:nvPr>
        </p:nvSpPr>
        <p:spPr>
          <a:xfrm>
            <a:off x="6092952" y="0"/>
            <a:ext cx="609904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2870704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5065776"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5065776"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051AE230-2E4F-1D54-1E03-E64C849AD7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7968775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357FE554-3AAF-19DE-3364-2D9FF16DC66D}"/>
              </a:ext>
            </a:extLst>
          </p:cNvPr>
          <p:cNvSpPr>
            <a:spLocks noGrp="1"/>
          </p:cNvSpPr>
          <p:nvPr>
            <p:ph type="pic" sz="quarter" idx="12"/>
          </p:nvPr>
        </p:nvSpPr>
        <p:spPr>
          <a:xfrm>
            <a:off x="7830312" y="0"/>
            <a:ext cx="4361688"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143689930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629100"/>
            <a:ext cx="6967728"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6" y="1051990"/>
            <a:ext cx="6967728"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1" name="5. Source" hidden="1">
            <a:extLst>
              <a:ext uri="{FF2B5EF4-FFF2-40B4-BE49-F238E27FC236}">
                <a16:creationId xmlns:a16="http://schemas.microsoft.com/office/drawing/2014/main" id="{F25A304F-F50E-4F96-991D-CFEB07060178}"/>
              </a:ext>
            </a:extLst>
          </p:cNvPr>
          <p:cNvSpPr txBox="1">
            <a:spLocks/>
          </p:cNvSpPr>
          <p:nvPr>
            <p:custDataLst>
              <p:tags r:id="rId5"/>
            </p:custDataLst>
          </p:nvPr>
        </p:nvSpPr>
        <p:spPr>
          <a:xfrm>
            <a:off x="554735" y="6501670"/>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2" name="Slide Number Placeholder 1">
            <a:extLst>
              <a:ext uri="{FF2B5EF4-FFF2-40B4-BE49-F238E27FC236}">
                <a16:creationId xmlns:a16="http://schemas.microsoft.com/office/drawing/2014/main" id="{75604244-4C3E-2BC2-7D3C-D9F12D0EDEF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980151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Green + Logo big">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098196D-A708-2256-99D7-42B4AFC78CE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4">
            <a:extLst>
              <a:ext uri="{FF2B5EF4-FFF2-40B4-BE49-F238E27FC236}">
                <a16:creationId xmlns:a16="http://schemas.microsoft.com/office/drawing/2014/main" id="{05D5B7FC-117D-EC04-DA1C-9A19D3118F1C}"/>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4" name="Заголовок 2"/>
          <p:cNvSpPr>
            <a:spLocks noGrp="1"/>
          </p:cNvSpPr>
          <p:nvPr>
            <p:ph type="title" hasCustomPrompt="1"/>
          </p:nvPr>
        </p:nvSpPr>
        <p:spPr>
          <a:xfrm>
            <a:off x="927308" y="1609643"/>
            <a:ext cx="4486963"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the </a:t>
            </a:r>
            <a:br>
              <a:rPr lang="en-US"/>
            </a:br>
            <a:r>
              <a:rPr lang="en-US"/>
              <a:t>title for </a:t>
            </a:r>
            <a:br>
              <a:rPr lang="en-US"/>
            </a:br>
            <a:r>
              <a:rPr lang="en-US"/>
              <a:t>the cover</a:t>
            </a:r>
          </a:p>
        </p:txBody>
      </p:sp>
      <p:sp>
        <p:nvSpPr>
          <p:cNvPr id="3" name="Tijdelijke aanduiding voor tekst 2"/>
          <p:cNvSpPr>
            <a:spLocks noGrp="1"/>
          </p:cNvSpPr>
          <p:nvPr>
            <p:ph type="body" sz="quarter" idx="63" hasCustomPrompt="1"/>
          </p:nvPr>
        </p:nvSpPr>
        <p:spPr>
          <a:xfrm>
            <a:off x="927100" y="4848001"/>
            <a:ext cx="4486963"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7" name="Vrije vorm: vorm 6">
            <a:extLst>
              <a:ext uri="{FF2B5EF4-FFF2-40B4-BE49-F238E27FC236}">
                <a16:creationId xmlns:a16="http://schemas.microsoft.com/office/drawing/2014/main" id="{DCDB447D-C45F-C740-076C-FE3252EC0C21}"/>
              </a:ext>
            </a:extLst>
          </p:cNvPr>
          <p:cNvSpPr/>
          <p:nvPr userDrawn="1"/>
        </p:nvSpPr>
        <p:spPr>
          <a:xfrm>
            <a:off x="5703382" y="0"/>
            <a:ext cx="6469229" cy="6858000"/>
          </a:xfrm>
          <a:custGeom>
            <a:avLst/>
            <a:gdLst>
              <a:gd name="connsiteX0" fmla="*/ 1333347 w 4851922"/>
              <a:gd name="connsiteY0" fmla="*/ 0 h 5143500"/>
              <a:gd name="connsiteX1" fmla="*/ 4851922 w 4851922"/>
              <a:gd name="connsiteY1" fmla="*/ 0 h 5143500"/>
              <a:gd name="connsiteX2" fmla="*/ 4851922 w 4851922"/>
              <a:gd name="connsiteY2" fmla="*/ 5143500 h 5143500"/>
              <a:gd name="connsiteX3" fmla="*/ 1128384 w 4851922"/>
              <a:gd name="connsiteY3" fmla="*/ 5143500 h 5143500"/>
              <a:gd name="connsiteX4" fmla="*/ 980465 w 4851922"/>
              <a:gd name="connsiteY4" fmla="*/ 5009769 h 5143500"/>
              <a:gd name="connsiteX5" fmla="*/ 0 w 4851922"/>
              <a:gd name="connsiteY5" fmla="*/ 2655175 h 5143500"/>
              <a:gd name="connsiteX6" fmla="*/ 1218185 w 4851922"/>
              <a:gd name="connsiteY6" fmla="*/ 85663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22" h="5143500">
                <a:moveTo>
                  <a:pt x="1333347" y="0"/>
                </a:moveTo>
                <a:lnTo>
                  <a:pt x="4851922" y="0"/>
                </a:lnTo>
                <a:lnTo>
                  <a:pt x="4851922" y="5143500"/>
                </a:lnTo>
                <a:lnTo>
                  <a:pt x="1128384" y="5143500"/>
                </a:lnTo>
                <a:lnTo>
                  <a:pt x="980465" y="5009769"/>
                </a:lnTo>
                <a:cubicBezTo>
                  <a:pt x="374684" y="4407176"/>
                  <a:pt x="0" y="3574701"/>
                  <a:pt x="0" y="2655175"/>
                </a:cubicBezTo>
                <a:cubicBezTo>
                  <a:pt x="0" y="1620708"/>
                  <a:pt x="474209" y="696416"/>
                  <a:pt x="1218185" y="85663"/>
                </a:cubicBezTo>
                <a:close/>
              </a:path>
            </a:pathLst>
          </a:custGeom>
          <a:gradFill>
            <a:gsLst>
              <a:gs pos="94000">
                <a:srgbClr val="FFFFFF">
                  <a:lumMod val="85000"/>
                </a:srgbClr>
              </a:gs>
              <a:gs pos="17000">
                <a:srgbClr val="FFFFFF"/>
              </a:gs>
            </a:gsLst>
            <a:lin ang="54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8" name="Picture 7" descr="A picture containing text, vector graphics&#10;&#10;Description automatically generated">
            <a:extLst>
              <a:ext uri="{FF2B5EF4-FFF2-40B4-BE49-F238E27FC236}">
                <a16:creationId xmlns:a16="http://schemas.microsoft.com/office/drawing/2014/main" id="{668EC29F-F097-14F9-5394-4A5CCE2E9CF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94516" y="1296751"/>
            <a:ext cx="4486963" cy="4486963"/>
          </a:xfrm>
          <a:prstGeom prst="rect">
            <a:avLst/>
          </a:prstGeom>
        </p:spPr>
      </p:pic>
    </p:spTree>
    <p:extLst>
      <p:ext uri="{BB962C8B-B14F-4D97-AF65-F5344CB8AC3E}">
        <p14:creationId xmlns:p14="http://schemas.microsoft.com/office/powerpoint/2010/main" val="333746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 ">
    <p:spTree>
      <p:nvGrpSpPr>
        <p:cNvPr id="1" name=""/>
        <p:cNvGrpSpPr/>
        <p:nvPr/>
      </p:nvGrpSpPr>
      <p:grpSpPr>
        <a:xfrm>
          <a:off x="0" y="0"/>
          <a:ext cx="0" cy="0"/>
          <a:chOff x="0" y="0"/>
          <a:chExt cx="0" cy="0"/>
        </a:xfrm>
      </p:grpSpPr>
      <p:sp>
        <p:nvSpPr>
          <p:cNvPr id="15" name="Tijdelijke aanduiding voor afbeelding 23">
            <a:extLst>
              <a:ext uri="{FF2B5EF4-FFF2-40B4-BE49-F238E27FC236}">
                <a16:creationId xmlns:a16="http://schemas.microsoft.com/office/drawing/2014/main" id="{05F7E1AE-65A5-F23B-87E9-CF50B45CA81F}"/>
              </a:ext>
            </a:extLst>
          </p:cNvPr>
          <p:cNvSpPr>
            <a:spLocks noGrp="1"/>
          </p:cNvSpPr>
          <p:nvPr>
            <p:ph type="pic" sz="quarter" idx="12"/>
          </p:nvPr>
        </p:nvSpPr>
        <p:spPr>
          <a:xfrm>
            <a:off x="8782051" y="0"/>
            <a:ext cx="3409949" cy="6858000"/>
          </a:xfrm>
          <a:solidFill>
            <a:schemeClr val="tx1">
              <a:alpha val="10000"/>
            </a:schemeClr>
          </a:solidFill>
        </p:spPr>
        <p:txBody>
          <a:bodyPr lIns="180000" tIns="180000" rIns="180000" bIns="180000">
            <a:noAutofit/>
          </a:bodyPr>
          <a:lstStyle>
            <a:lvl1pPr algn="r">
              <a:defRPr/>
            </a:lvl1pPr>
          </a:lstStyle>
          <a:p>
            <a:endParaRPr lang="de-DE"/>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3210325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629100"/>
            <a:ext cx="7918704" cy="410433"/>
          </a:xfrm>
        </p:spPr>
        <p:txBody>
          <a:bodyPr vert="horz" wrap="square" lIns="0" tIns="0" rIns="0" bIns="0" rtlCol="0" anchor="b" anchorCtr="0">
            <a:spAutoFit/>
          </a:bodyPr>
          <a:lstStyle>
            <a:lvl1pPr>
              <a:defRPr lang="en-US" dirty="0">
                <a:latin typeface="HEINEKEN Core" panose="02000503050000020004" pitchFamily="2" charset="0"/>
                <a:sym typeface="HEINEKEN Core" panose="02000503050000020004" pitchFamily="2" charset="0"/>
              </a:defRPr>
            </a:lvl1pPr>
          </a:lstStyle>
          <a:p>
            <a:pPr lvl="0"/>
            <a:r>
              <a:rPr lang="nl-NL"/>
              <a:t>Klik om stijl te bewerken</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1051990"/>
            <a:ext cx="7918704" cy="276999"/>
          </a:xfrm>
          <a:prstGeom prst="rect">
            <a:avLst/>
          </a:prstGeom>
        </p:spPr>
        <p:txBody>
          <a:bodyPr wrap="square">
            <a:noAutofit/>
          </a:bodyPr>
          <a:lstStyle>
            <a:lvl1pPr marL="0" indent="0" algn="l">
              <a:buNone/>
              <a:defRPr sz="1800" b="0">
                <a:solidFill>
                  <a:schemeClr val="tx1"/>
                </a:solidFill>
                <a:latin typeface="HEINEKEN Core" panose="02000503050000020004" pitchFamily="2" charset="0"/>
                <a:sym typeface="HEINEKEN Core" panose="0200050305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ken om de ondertitelstijl van het model te bewerken</a:t>
            </a:r>
            <a:endParaRPr lang="en-US"/>
          </a:p>
        </p:txBody>
      </p:sp>
      <p:sp>
        <p:nvSpPr>
          <p:cNvPr id="22" name="5. Source" hidden="1">
            <a:extLst>
              <a:ext uri="{FF2B5EF4-FFF2-40B4-BE49-F238E27FC236}">
                <a16:creationId xmlns:a16="http://schemas.microsoft.com/office/drawing/2014/main" id="{F5E9C22A-A356-4521-A359-338A663DFEA2}"/>
              </a:ext>
            </a:extLst>
          </p:cNvPr>
          <p:cNvSpPr txBox="1">
            <a:spLocks/>
          </p:cNvSpPr>
          <p:nvPr>
            <p:custDataLst>
              <p:tags r:id="rId5"/>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a:latin typeface="HEINEKEN Core" panose="02000503050000020004" pitchFamily="2" charset="0"/>
                <a:sym typeface="HEINEKEN Core" panose="02000503050000020004" pitchFamily="2"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12" name="Tijdelijke aanduiding voor tekst 11">
            <a:extLst>
              <a:ext uri="{FF2B5EF4-FFF2-40B4-BE49-F238E27FC236}">
                <a16:creationId xmlns:a16="http://schemas.microsoft.com/office/drawing/2014/main" id="{505DEE44-9083-5658-4211-5B4E92DF0D61}"/>
              </a:ext>
            </a:extLst>
          </p:cNvPr>
          <p:cNvSpPr>
            <a:spLocks noGrp="1"/>
          </p:cNvSpPr>
          <p:nvPr>
            <p:ph type="body" sz="quarter" idx="11" hasCustomPrompt="1"/>
          </p:nvPr>
        </p:nvSpPr>
        <p:spPr>
          <a:xfrm>
            <a:off x="10192308" y="6476420"/>
            <a:ext cx="1065120" cy="150024"/>
          </a:xfrm>
          <a:custGeom>
            <a:avLst/>
            <a:gdLst>
              <a:gd name="connsiteX0" fmla="*/ 707848 w 798840"/>
              <a:gd name="connsiteY0" fmla="*/ 595 h 112518"/>
              <a:gd name="connsiteX1" fmla="*/ 722619 w 798840"/>
              <a:gd name="connsiteY1" fmla="*/ 595 h 112518"/>
              <a:gd name="connsiteX2" fmla="*/ 739163 w 798840"/>
              <a:gd name="connsiteY2" fmla="*/ 9520 h 112518"/>
              <a:gd name="connsiteX3" fmla="*/ 772842 w 798840"/>
              <a:gd name="connsiteY3" fmla="*/ 63073 h 112518"/>
              <a:gd name="connsiteX4" fmla="*/ 771661 w 798840"/>
              <a:gd name="connsiteY4" fmla="*/ 51172 h 112518"/>
              <a:gd name="connsiteX5" fmla="*/ 771661 w 798840"/>
              <a:gd name="connsiteY5" fmla="*/ 595 h 112518"/>
              <a:gd name="connsiteX6" fmla="*/ 798840 w 798840"/>
              <a:gd name="connsiteY6" fmla="*/ 595 h 112518"/>
              <a:gd name="connsiteX7" fmla="*/ 798840 w 798840"/>
              <a:gd name="connsiteY7" fmla="*/ 4760 h 112518"/>
              <a:gd name="connsiteX8" fmla="*/ 794113 w 798840"/>
              <a:gd name="connsiteY8" fmla="*/ 12496 h 112518"/>
              <a:gd name="connsiteX9" fmla="*/ 794113 w 798840"/>
              <a:gd name="connsiteY9" fmla="*/ 106510 h 112518"/>
              <a:gd name="connsiteX10" fmla="*/ 788205 w 798840"/>
              <a:gd name="connsiteY10" fmla="*/ 112460 h 112518"/>
              <a:gd name="connsiteX11" fmla="*/ 769888 w 798840"/>
              <a:gd name="connsiteY11" fmla="*/ 112460 h 112518"/>
              <a:gd name="connsiteX12" fmla="*/ 729710 w 798840"/>
              <a:gd name="connsiteY12" fmla="*/ 48197 h 112518"/>
              <a:gd name="connsiteX13" fmla="*/ 730300 w 798840"/>
              <a:gd name="connsiteY13" fmla="*/ 60098 h 112518"/>
              <a:gd name="connsiteX14" fmla="*/ 730300 w 798840"/>
              <a:gd name="connsiteY14" fmla="*/ 112460 h 112518"/>
              <a:gd name="connsiteX15" fmla="*/ 707848 w 798840"/>
              <a:gd name="connsiteY15" fmla="*/ 112460 h 112518"/>
              <a:gd name="connsiteX16" fmla="*/ 609765 w 798840"/>
              <a:gd name="connsiteY16" fmla="*/ 595 h 112518"/>
              <a:gd name="connsiteX17" fmla="*/ 676532 w 798840"/>
              <a:gd name="connsiteY17" fmla="*/ 595 h 112518"/>
              <a:gd name="connsiteX18" fmla="*/ 676911 w 798840"/>
              <a:gd name="connsiteY18" fmla="*/ 615 h 112518"/>
              <a:gd name="connsiteX19" fmla="*/ 681850 w 798840"/>
              <a:gd name="connsiteY19" fmla="*/ 6545 h 112518"/>
              <a:gd name="connsiteX20" fmla="*/ 681850 w 798840"/>
              <a:gd name="connsiteY20" fmla="*/ 20826 h 112518"/>
              <a:gd name="connsiteX21" fmla="*/ 639308 w 798840"/>
              <a:gd name="connsiteY21" fmla="*/ 20826 h 112518"/>
              <a:gd name="connsiteX22" fmla="*/ 639308 w 798840"/>
              <a:gd name="connsiteY22" fmla="*/ 43437 h 112518"/>
              <a:gd name="connsiteX23" fmla="*/ 673578 w 798840"/>
              <a:gd name="connsiteY23" fmla="*/ 43437 h 112518"/>
              <a:gd name="connsiteX24" fmla="*/ 673578 w 798840"/>
              <a:gd name="connsiteY24" fmla="*/ 63668 h 112518"/>
              <a:gd name="connsiteX25" fmla="*/ 639308 w 798840"/>
              <a:gd name="connsiteY25" fmla="*/ 63668 h 112518"/>
              <a:gd name="connsiteX26" fmla="*/ 639308 w 798840"/>
              <a:gd name="connsiteY26" fmla="*/ 87469 h 112518"/>
              <a:gd name="connsiteX27" fmla="*/ 639308 w 798840"/>
              <a:gd name="connsiteY27" fmla="*/ 87588 h 112518"/>
              <a:gd name="connsiteX28" fmla="*/ 644035 w 798840"/>
              <a:gd name="connsiteY28" fmla="*/ 92229 h 112518"/>
              <a:gd name="connsiteX29" fmla="*/ 682441 w 798840"/>
              <a:gd name="connsiteY29" fmla="*/ 92229 h 112518"/>
              <a:gd name="connsiteX30" fmla="*/ 682441 w 798840"/>
              <a:gd name="connsiteY30" fmla="*/ 106510 h 112518"/>
              <a:gd name="connsiteX31" fmla="*/ 676532 w 798840"/>
              <a:gd name="connsiteY31" fmla="*/ 112460 h 112518"/>
              <a:gd name="connsiteX32" fmla="*/ 620992 w 798840"/>
              <a:gd name="connsiteY32" fmla="*/ 112460 h 112518"/>
              <a:gd name="connsiteX33" fmla="*/ 609765 w 798840"/>
              <a:gd name="connsiteY33" fmla="*/ 102344 h 112518"/>
              <a:gd name="connsiteX34" fmla="*/ 398829 w 798840"/>
              <a:gd name="connsiteY34" fmla="*/ 595 h 112518"/>
              <a:gd name="connsiteX35" fmla="*/ 465596 w 798840"/>
              <a:gd name="connsiteY35" fmla="*/ 595 h 112518"/>
              <a:gd name="connsiteX36" fmla="*/ 465972 w 798840"/>
              <a:gd name="connsiteY36" fmla="*/ 615 h 112518"/>
              <a:gd name="connsiteX37" fmla="*/ 470914 w 798840"/>
              <a:gd name="connsiteY37" fmla="*/ 6545 h 112518"/>
              <a:gd name="connsiteX38" fmla="*/ 470914 w 798840"/>
              <a:gd name="connsiteY38" fmla="*/ 20826 h 112518"/>
              <a:gd name="connsiteX39" fmla="*/ 428372 w 798840"/>
              <a:gd name="connsiteY39" fmla="*/ 20826 h 112518"/>
              <a:gd name="connsiteX40" fmla="*/ 428372 w 798840"/>
              <a:gd name="connsiteY40" fmla="*/ 43437 h 112518"/>
              <a:gd name="connsiteX41" fmla="*/ 462642 w 798840"/>
              <a:gd name="connsiteY41" fmla="*/ 43437 h 112518"/>
              <a:gd name="connsiteX42" fmla="*/ 462642 w 798840"/>
              <a:gd name="connsiteY42" fmla="*/ 63668 h 112518"/>
              <a:gd name="connsiteX43" fmla="*/ 428372 w 798840"/>
              <a:gd name="connsiteY43" fmla="*/ 63668 h 112518"/>
              <a:gd name="connsiteX44" fmla="*/ 428372 w 798840"/>
              <a:gd name="connsiteY44" fmla="*/ 87469 h 112518"/>
              <a:gd name="connsiteX45" fmla="*/ 428372 w 798840"/>
              <a:gd name="connsiteY45" fmla="*/ 87588 h 112518"/>
              <a:gd name="connsiteX46" fmla="*/ 433099 w 798840"/>
              <a:gd name="connsiteY46" fmla="*/ 92229 h 112518"/>
              <a:gd name="connsiteX47" fmla="*/ 471505 w 798840"/>
              <a:gd name="connsiteY47" fmla="*/ 92229 h 112518"/>
              <a:gd name="connsiteX48" fmla="*/ 471505 w 798840"/>
              <a:gd name="connsiteY48" fmla="*/ 106510 h 112518"/>
              <a:gd name="connsiteX49" fmla="*/ 465596 w 798840"/>
              <a:gd name="connsiteY49" fmla="*/ 112460 h 112518"/>
              <a:gd name="connsiteX50" fmla="*/ 410055 w 798840"/>
              <a:gd name="connsiteY50" fmla="*/ 112460 h 112518"/>
              <a:gd name="connsiteX51" fmla="*/ 398829 w 798840"/>
              <a:gd name="connsiteY51" fmla="*/ 102344 h 112518"/>
              <a:gd name="connsiteX52" fmla="*/ 281839 w 798840"/>
              <a:gd name="connsiteY52" fmla="*/ 595 h 112518"/>
              <a:gd name="connsiteX53" fmla="*/ 296611 w 798840"/>
              <a:gd name="connsiteY53" fmla="*/ 595 h 112518"/>
              <a:gd name="connsiteX54" fmla="*/ 313155 w 798840"/>
              <a:gd name="connsiteY54" fmla="*/ 9520 h 112518"/>
              <a:gd name="connsiteX55" fmla="*/ 346834 w 798840"/>
              <a:gd name="connsiteY55" fmla="*/ 63073 h 112518"/>
              <a:gd name="connsiteX56" fmla="*/ 345652 w 798840"/>
              <a:gd name="connsiteY56" fmla="*/ 51172 h 112518"/>
              <a:gd name="connsiteX57" fmla="*/ 345652 w 798840"/>
              <a:gd name="connsiteY57" fmla="*/ 595 h 112518"/>
              <a:gd name="connsiteX58" fmla="*/ 368695 w 798840"/>
              <a:gd name="connsiteY58" fmla="*/ 595 h 112518"/>
              <a:gd name="connsiteX59" fmla="*/ 368695 w 798840"/>
              <a:gd name="connsiteY59" fmla="*/ 106510 h 112518"/>
              <a:gd name="connsiteX60" fmla="*/ 362787 w 798840"/>
              <a:gd name="connsiteY60" fmla="*/ 112460 h 112518"/>
              <a:gd name="connsiteX61" fmla="*/ 343879 w 798840"/>
              <a:gd name="connsiteY61" fmla="*/ 112460 h 112518"/>
              <a:gd name="connsiteX62" fmla="*/ 303701 w 798840"/>
              <a:gd name="connsiteY62" fmla="*/ 48197 h 112518"/>
              <a:gd name="connsiteX63" fmla="*/ 304292 w 798840"/>
              <a:gd name="connsiteY63" fmla="*/ 60098 h 112518"/>
              <a:gd name="connsiteX64" fmla="*/ 304292 w 798840"/>
              <a:gd name="connsiteY64" fmla="*/ 112460 h 112518"/>
              <a:gd name="connsiteX65" fmla="*/ 281839 w 798840"/>
              <a:gd name="connsiteY65" fmla="*/ 112460 h 112518"/>
              <a:gd name="connsiteX66" fmla="*/ 221572 w 798840"/>
              <a:gd name="connsiteY66" fmla="*/ 595 h 112518"/>
              <a:gd name="connsiteX67" fmla="*/ 251706 w 798840"/>
              <a:gd name="connsiteY67" fmla="*/ 595 h 112518"/>
              <a:gd name="connsiteX68" fmla="*/ 251706 w 798840"/>
              <a:gd name="connsiteY68" fmla="*/ 112460 h 112518"/>
              <a:gd name="connsiteX69" fmla="*/ 227480 w 798840"/>
              <a:gd name="connsiteY69" fmla="*/ 112460 h 112518"/>
              <a:gd name="connsiteX70" fmla="*/ 221572 w 798840"/>
              <a:gd name="connsiteY70" fmla="*/ 106510 h 112518"/>
              <a:gd name="connsiteX71" fmla="*/ 121717 w 798840"/>
              <a:gd name="connsiteY71" fmla="*/ 595 h 112518"/>
              <a:gd name="connsiteX72" fmla="*/ 188484 w 798840"/>
              <a:gd name="connsiteY72" fmla="*/ 595 h 112518"/>
              <a:gd name="connsiteX73" fmla="*/ 188859 w 798840"/>
              <a:gd name="connsiteY73" fmla="*/ 615 h 112518"/>
              <a:gd name="connsiteX74" fmla="*/ 193801 w 798840"/>
              <a:gd name="connsiteY74" fmla="*/ 6545 h 112518"/>
              <a:gd name="connsiteX75" fmla="*/ 193801 w 798840"/>
              <a:gd name="connsiteY75" fmla="*/ 20826 h 112518"/>
              <a:gd name="connsiteX76" fmla="*/ 151260 w 798840"/>
              <a:gd name="connsiteY76" fmla="*/ 20826 h 112518"/>
              <a:gd name="connsiteX77" fmla="*/ 151260 w 798840"/>
              <a:gd name="connsiteY77" fmla="*/ 43437 h 112518"/>
              <a:gd name="connsiteX78" fmla="*/ 185529 w 798840"/>
              <a:gd name="connsiteY78" fmla="*/ 43437 h 112518"/>
              <a:gd name="connsiteX79" fmla="*/ 185529 w 798840"/>
              <a:gd name="connsiteY79" fmla="*/ 63668 h 112518"/>
              <a:gd name="connsiteX80" fmla="*/ 151260 w 798840"/>
              <a:gd name="connsiteY80" fmla="*/ 63668 h 112518"/>
              <a:gd name="connsiteX81" fmla="*/ 151260 w 798840"/>
              <a:gd name="connsiteY81" fmla="*/ 87469 h 112518"/>
              <a:gd name="connsiteX82" fmla="*/ 151260 w 798840"/>
              <a:gd name="connsiteY82" fmla="*/ 87588 h 112518"/>
              <a:gd name="connsiteX83" fmla="*/ 155987 w 798840"/>
              <a:gd name="connsiteY83" fmla="*/ 92229 h 112518"/>
              <a:gd name="connsiteX84" fmla="*/ 194392 w 798840"/>
              <a:gd name="connsiteY84" fmla="*/ 92229 h 112518"/>
              <a:gd name="connsiteX85" fmla="*/ 194392 w 798840"/>
              <a:gd name="connsiteY85" fmla="*/ 106510 h 112518"/>
              <a:gd name="connsiteX86" fmla="*/ 188484 w 798840"/>
              <a:gd name="connsiteY86" fmla="*/ 112460 h 112518"/>
              <a:gd name="connsiteX87" fmla="*/ 132943 w 798840"/>
              <a:gd name="connsiteY87" fmla="*/ 112460 h 112518"/>
              <a:gd name="connsiteX88" fmla="*/ 132911 w 798840"/>
              <a:gd name="connsiteY88" fmla="*/ 112462 h 112518"/>
              <a:gd name="connsiteX89" fmla="*/ 121717 w 798840"/>
              <a:gd name="connsiteY89" fmla="*/ 102344 h 112518"/>
              <a:gd name="connsiteX90" fmla="*/ 0 w 798840"/>
              <a:gd name="connsiteY90" fmla="*/ 595 h 112518"/>
              <a:gd name="connsiteX91" fmla="*/ 34861 w 798840"/>
              <a:gd name="connsiteY91" fmla="*/ 595 h 112518"/>
              <a:gd name="connsiteX92" fmla="*/ 34861 w 798840"/>
              <a:gd name="connsiteY92" fmla="*/ 43437 h 112518"/>
              <a:gd name="connsiteX93" fmla="*/ 60858 w 798840"/>
              <a:gd name="connsiteY93" fmla="*/ 43437 h 112518"/>
              <a:gd name="connsiteX94" fmla="*/ 60858 w 798840"/>
              <a:gd name="connsiteY94" fmla="*/ 595 h 112518"/>
              <a:gd name="connsiteX95" fmla="*/ 90992 w 798840"/>
              <a:gd name="connsiteY95" fmla="*/ 595 h 112518"/>
              <a:gd name="connsiteX96" fmla="*/ 90992 w 798840"/>
              <a:gd name="connsiteY96" fmla="*/ 112460 h 112518"/>
              <a:gd name="connsiteX97" fmla="*/ 60858 w 798840"/>
              <a:gd name="connsiteY97" fmla="*/ 112460 h 112518"/>
              <a:gd name="connsiteX98" fmla="*/ 60858 w 798840"/>
              <a:gd name="connsiteY98" fmla="*/ 64263 h 112518"/>
              <a:gd name="connsiteX99" fmla="*/ 34861 w 798840"/>
              <a:gd name="connsiteY99" fmla="*/ 64263 h 112518"/>
              <a:gd name="connsiteX100" fmla="*/ 34861 w 798840"/>
              <a:gd name="connsiteY100" fmla="*/ 112460 h 112518"/>
              <a:gd name="connsiteX101" fmla="*/ 4727 w 798840"/>
              <a:gd name="connsiteY101" fmla="*/ 112460 h 112518"/>
              <a:gd name="connsiteX102" fmla="*/ 4727 w 798840"/>
              <a:gd name="connsiteY102" fmla="*/ 12496 h 112518"/>
              <a:gd name="connsiteX103" fmla="*/ 0 w 798840"/>
              <a:gd name="connsiteY103" fmla="*/ 4760 h 112518"/>
              <a:gd name="connsiteX104" fmla="*/ 495730 w 798840"/>
              <a:gd name="connsiteY104" fmla="*/ 0 h 112518"/>
              <a:gd name="connsiteX105" fmla="*/ 525864 w 798840"/>
              <a:gd name="connsiteY105" fmla="*/ 0 h 112518"/>
              <a:gd name="connsiteX106" fmla="*/ 525864 w 798840"/>
              <a:gd name="connsiteY106" fmla="*/ 41652 h 112518"/>
              <a:gd name="connsiteX107" fmla="*/ 556588 w 798840"/>
              <a:gd name="connsiteY107" fmla="*/ 6545 h 112518"/>
              <a:gd name="connsiteX108" fmla="*/ 570178 w 798840"/>
              <a:gd name="connsiteY108" fmla="*/ 595 h 112518"/>
              <a:gd name="connsiteX109" fmla="*/ 592040 w 798840"/>
              <a:gd name="connsiteY109" fmla="*/ 595 h 112518"/>
              <a:gd name="connsiteX110" fmla="*/ 552452 w 798840"/>
              <a:gd name="connsiteY110" fmla="*/ 46412 h 112518"/>
              <a:gd name="connsiteX111" fmla="*/ 594403 w 798840"/>
              <a:gd name="connsiteY111" fmla="*/ 112460 h 112518"/>
              <a:gd name="connsiteX112" fmla="*/ 569587 w 798840"/>
              <a:gd name="connsiteY112" fmla="*/ 112460 h 112518"/>
              <a:gd name="connsiteX113" fmla="*/ 552452 w 798840"/>
              <a:gd name="connsiteY113" fmla="*/ 102939 h 112518"/>
              <a:gd name="connsiteX114" fmla="*/ 525864 w 798840"/>
              <a:gd name="connsiteY114" fmla="*/ 61288 h 112518"/>
              <a:gd name="connsiteX115" fmla="*/ 525864 w 798840"/>
              <a:gd name="connsiteY115" fmla="*/ 111865 h 112518"/>
              <a:gd name="connsiteX116" fmla="*/ 501638 w 798840"/>
              <a:gd name="connsiteY116" fmla="*/ 111865 h 112518"/>
              <a:gd name="connsiteX117" fmla="*/ 495730 w 798840"/>
              <a:gd name="connsiteY117" fmla="*/ 105915 h 11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98840" h="112518">
                <a:moveTo>
                  <a:pt x="707848" y="595"/>
                </a:moveTo>
                <a:lnTo>
                  <a:pt x="722619" y="595"/>
                </a:lnTo>
                <a:cubicBezTo>
                  <a:pt x="729373" y="145"/>
                  <a:pt x="735796" y="3608"/>
                  <a:pt x="739163" y="9520"/>
                </a:cubicBezTo>
                <a:lnTo>
                  <a:pt x="772842" y="63073"/>
                </a:lnTo>
                <a:cubicBezTo>
                  <a:pt x="771891" y="59182"/>
                  <a:pt x="771489" y="55176"/>
                  <a:pt x="771661" y="51172"/>
                </a:cubicBezTo>
                <a:lnTo>
                  <a:pt x="771661" y="595"/>
                </a:lnTo>
                <a:lnTo>
                  <a:pt x="798840" y="595"/>
                </a:lnTo>
                <a:lnTo>
                  <a:pt x="798840" y="4760"/>
                </a:lnTo>
                <a:cubicBezTo>
                  <a:pt x="795839" y="6121"/>
                  <a:pt x="793965" y="9186"/>
                  <a:pt x="794113" y="12496"/>
                </a:cubicBezTo>
                <a:lnTo>
                  <a:pt x="794113" y="106510"/>
                </a:lnTo>
                <a:cubicBezTo>
                  <a:pt x="794113" y="109796"/>
                  <a:pt x="791466" y="112460"/>
                  <a:pt x="788205" y="112460"/>
                </a:cubicBezTo>
                <a:lnTo>
                  <a:pt x="769888" y="112460"/>
                </a:lnTo>
                <a:lnTo>
                  <a:pt x="729710" y="48197"/>
                </a:lnTo>
                <a:cubicBezTo>
                  <a:pt x="729710" y="48197"/>
                  <a:pt x="730300" y="53552"/>
                  <a:pt x="730300" y="60098"/>
                </a:cubicBezTo>
                <a:lnTo>
                  <a:pt x="730300" y="112460"/>
                </a:lnTo>
                <a:lnTo>
                  <a:pt x="707848" y="112460"/>
                </a:lnTo>
                <a:close/>
                <a:moveTo>
                  <a:pt x="609765" y="595"/>
                </a:moveTo>
                <a:lnTo>
                  <a:pt x="676532" y="595"/>
                </a:lnTo>
                <a:cubicBezTo>
                  <a:pt x="676657" y="597"/>
                  <a:pt x="676781" y="604"/>
                  <a:pt x="676911" y="615"/>
                </a:cubicBezTo>
                <a:cubicBezTo>
                  <a:pt x="679900" y="878"/>
                  <a:pt x="682110" y="3533"/>
                  <a:pt x="681850" y="6545"/>
                </a:cubicBezTo>
                <a:lnTo>
                  <a:pt x="681850" y="20826"/>
                </a:lnTo>
                <a:lnTo>
                  <a:pt x="639308" y="20826"/>
                </a:lnTo>
                <a:lnTo>
                  <a:pt x="639308" y="43437"/>
                </a:lnTo>
                <a:lnTo>
                  <a:pt x="673578" y="43437"/>
                </a:lnTo>
                <a:lnTo>
                  <a:pt x="673578" y="63668"/>
                </a:lnTo>
                <a:lnTo>
                  <a:pt x="639308" y="63668"/>
                </a:lnTo>
                <a:lnTo>
                  <a:pt x="639308" y="87469"/>
                </a:lnTo>
                <a:cubicBezTo>
                  <a:pt x="639308" y="87509"/>
                  <a:pt x="639308" y="87549"/>
                  <a:pt x="639308" y="87588"/>
                </a:cubicBezTo>
                <a:cubicBezTo>
                  <a:pt x="639344" y="90184"/>
                  <a:pt x="641459" y="92262"/>
                  <a:pt x="644035" y="92229"/>
                </a:cubicBezTo>
                <a:lnTo>
                  <a:pt x="682441" y="92229"/>
                </a:lnTo>
                <a:lnTo>
                  <a:pt x="682441" y="106510"/>
                </a:lnTo>
                <a:cubicBezTo>
                  <a:pt x="682441" y="109796"/>
                  <a:pt x="679794" y="112460"/>
                  <a:pt x="676532" y="112460"/>
                </a:cubicBezTo>
                <a:lnTo>
                  <a:pt x="620992" y="112460"/>
                </a:lnTo>
                <a:cubicBezTo>
                  <a:pt x="615195" y="112578"/>
                  <a:pt x="610291" y="108161"/>
                  <a:pt x="609765" y="102344"/>
                </a:cubicBezTo>
                <a:close/>
                <a:moveTo>
                  <a:pt x="398829" y="595"/>
                </a:moveTo>
                <a:lnTo>
                  <a:pt x="465596" y="595"/>
                </a:lnTo>
                <a:cubicBezTo>
                  <a:pt x="465721" y="597"/>
                  <a:pt x="465847" y="604"/>
                  <a:pt x="465972" y="615"/>
                </a:cubicBezTo>
                <a:cubicBezTo>
                  <a:pt x="468963" y="878"/>
                  <a:pt x="471176" y="3533"/>
                  <a:pt x="470914" y="6545"/>
                </a:cubicBezTo>
                <a:lnTo>
                  <a:pt x="470914" y="20826"/>
                </a:lnTo>
                <a:lnTo>
                  <a:pt x="428372" y="20826"/>
                </a:lnTo>
                <a:lnTo>
                  <a:pt x="428372" y="43437"/>
                </a:lnTo>
                <a:lnTo>
                  <a:pt x="462642" y="43437"/>
                </a:lnTo>
                <a:lnTo>
                  <a:pt x="462642" y="63668"/>
                </a:lnTo>
                <a:lnTo>
                  <a:pt x="428372" y="63668"/>
                </a:lnTo>
                <a:lnTo>
                  <a:pt x="428372" y="87469"/>
                </a:lnTo>
                <a:cubicBezTo>
                  <a:pt x="428371" y="87509"/>
                  <a:pt x="428371" y="87549"/>
                  <a:pt x="428372" y="87588"/>
                </a:cubicBezTo>
                <a:cubicBezTo>
                  <a:pt x="428405" y="90184"/>
                  <a:pt x="430521" y="92262"/>
                  <a:pt x="433099" y="92229"/>
                </a:cubicBezTo>
                <a:lnTo>
                  <a:pt x="471505" y="92229"/>
                </a:lnTo>
                <a:lnTo>
                  <a:pt x="471505" y="106510"/>
                </a:lnTo>
                <a:cubicBezTo>
                  <a:pt x="471505" y="109796"/>
                  <a:pt x="468859" y="112460"/>
                  <a:pt x="465596" y="112460"/>
                </a:cubicBezTo>
                <a:lnTo>
                  <a:pt x="410055" y="112460"/>
                </a:lnTo>
                <a:cubicBezTo>
                  <a:pt x="404257" y="112578"/>
                  <a:pt x="399355" y="108161"/>
                  <a:pt x="398829" y="102344"/>
                </a:cubicBezTo>
                <a:close/>
                <a:moveTo>
                  <a:pt x="281839" y="595"/>
                </a:moveTo>
                <a:lnTo>
                  <a:pt x="296611" y="595"/>
                </a:lnTo>
                <a:cubicBezTo>
                  <a:pt x="303365" y="145"/>
                  <a:pt x="309785" y="3608"/>
                  <a:pt x="313155" y="9520"/>
                </a:cubicBezTo>
                <a:lnTo>
                  <a:pt x="346834" y="63073"/>
                </a:lnTo>
                <a:cubicBezTo>
                  <a:pt x="345881" y="59182"/>
                  <a:pt x="345484" y="55176"/>
                  <a:pt x="345652" y="51172"/>
                </a:cubicBezTo>
                <a:lnTo>
                  <a:pt x="345652" y="595"/>
                </a:lnTo>
                <a:lnTo>
                  <a:pt x="368695" y="595"/>
                </a:lnTo>
                <a:lnTo>
                  <a:pt x="368695" y="106510"/>
                </a:lnTo>
                <a:cubicBezTo>
                  <a:pt x="368695" y="109796"/>
                  <a:pt x="366050" y="112460"/>
                  <a:pt x="362787" y="112460"/>
                </a:cubicBezTo>
                <a:lnTo>
                  <a:pt x="343879" y="112460"/>
                </a:lnTo>
                <a:lnTo>
                  <a:pt x="303701" y="48197"/>
                </a:lnTo>
                <a:cubicBezTo>
                  <a:pt x="303701" y="48197"/>
                  <a:pt x="304292" y="53552"/>
                  <a:pt x="304292" y="60098"/>
                </a:cubicBezTo>
                <a:lnTo>
                  <a:pt x="304292" y="112460"/>
                </a:lnTo>
                <a:lnTo>
                  <a:pt x="281839" y="112460"/>
                </a:lnTo>
                <a:close/>
                <a:moveTo>
                  <a:pt x="221572" y="595"/>
                </a:moveTo>
                <a:lnTo>
                  <a:pt x="251706" y="595"/>
                </a:lnTo>
                <a:lnTo>
                  <a:pt x="251706" y="112460"/>
                </a:lnTo>
                <a:lnTo>
                  <a:pt x="227480" y="112460"/>
                </a:lnTo>
                <a:cubicBezTo>
                  <a:pt x="224217" y="112460"/>
                  <a:pt x="221572" y="109796"/>
                  <a:pt x="221572" y="106510"/>
                </a:cubicBezTo>
                <a:close/>
                <a:moveTo>
                  <a:pt x="121717" y="595"/>
                </a:moveTo>
                <a:lnTo>
                  <a:pt x="188484" y="595"/>
                </a:lnTo>
                <a:cubicBezTo>
                  <a:pt x="188609" y="597"/>
                  <a:pt x="188735" y="604"/>
                  <a:pt x="188859" y="615"/>
                </a:cubicBezTo>
                <a:cubicBezTo>
                  <a:pt x="191850" y="878"/>
                  <a:pt x="194063" y="3533"/>
                  <a:pt x="193801" y="6545"/>
                </a:cubicBezTo>
                <a:lnTo>
                  <a:pt x="193801" y="20826"/>
                </a:lnTo>
                <a:lnTo>
                  <a:pt x="151260" y="20826"/>
                </a:lnTo>
                <a:lnTo>
                  <a:pt x="151260" y="43437"/>
                </a:lnTo>
                <a:lnTo>
                  <a:pt x="185529" y="43437"/>
                </a:lnTo>
                <a:lnTo>
                  <a:pt x="185529" y="63668"/>
                </a:lnTo>
                <a:lnTo>
                  <a:pt x="151260" y="63668"/>
                </a:lnTo>
                <a:lnTo>
                  <a:pt x="151260" y="87469"/>
                </a:lnTo>
                <a:cubicBezTo>
                  <a:pt x="151259" y="87509"/>
                  <a:pt x="151259" y="87549"/>
                  <a:pt x="151260" y="87588"/>
                </a:cubicBezTo>
                <a:cubicBezTo>
                  <a:pt x="151293" y="90184"/>
                  <a:pt x="153409" y="92262"/>
                  <a:pt x="155987" y="92229"/>
                </a:cubicBezTo>
                <a:lnTo>
                  <a:pt x="194392" y="92229"/>
                </a:lnTo>
                <a:lnTo>
                  <a:pt x="194392" y="106510"/>
                </a:lnTo>
                <a:cubicBezTo>
                  <a:pt x="194392" y="109796"/>
                  <a:pt x="191747" y="112460"/>
                  <a:pt x="188484" y="112460"/>
                </a:cubicBezTo>
                <a:lnTo>
                  <a:pt x="132943" y="112460"/>
                </a:lnTo>
                <a:cubicBezTo>
                  <a:pt x="132932" y="112460"/>
                  <a:pt x="132921" y="112461"/>
                  <a:pt x="132911" y="112462"/>
                </a:cubicBezTo>
                <a:cubicBezTo>
                  <a:pt x="127045" y="112781"/>
                  <a:pt x="122033" y="108251"/>
                  <a:pt x="121717" y="102344"/>
                </a:cubicBezTo>
                <a:close/>
                <a:moveTo>
                  <a:pt x="0" y="595"/>
                </a:moveTo>
                <a:lnTo>
                  <a:pt x="34861" y="595"/>
                </a:lnTo>
                <a:lnTo>
                  <a:pt x="34861" y="43437"/>
                </a:lnTo>
                <a:lnTo>
                  <a:pt x="60858" y="43437"/>
                </a:lnTo>
                <a:lnTo>
                  <a:pt x="60858" y="595"/>
                </a:lnTo>
                <a:lnTo>
                  <a:pt x="90992" y="595"/>
                </a:lnTo>
                <a:lnTo>
                  <a:pt x="90992" y="112460"/>
                </a:lnTo>
                <a:lnTo>
                  <a:pt x="60858" y="112460"/>
                </a:lnTo>
                <a:lnTo>
                  <a:pt x="60858" y="64263"/>
                </a:lnTo>
                <a:lnTo>
                  <a:pt x="34861" y="64263"/>
                </a:lnTo>
                <a:lnTo>
                  <a:pt x="34861" y="112460"/>
                </a:lnTo>
                <a:lnTo>
                  <a:pt x="4727" y="112460"/>
                </a:lnTo>
                <a:lnTo>
                  <a:pt x="4727" y="12496"/>
                </a:lnTo>
                <a:cubicBezTo>
                  <a:pt x="4872" y="9186"/>
                  <a:pt x="2999" y="6121"/>
                  <a:pt x="0" y="4760"/>
                </a:cubicBezTo>
                <a:close/>
                <a:moveTo>
                  <a:pt x="495730" y="0"/>
                </a:moveTo>
                <a:lnTo>
                  <a:pt x="525864" y="0"/>
                </a:lnTo>
                <a:lnTo>
                  <a:pt x="525864" y="41652"/>
                </a:lnTo>
                <a:lnTo>
                  <a:pt x="556588" y="6545"/>
                </a:lnTo>
                <a:cubicBezTo>
                  <a:pt x="559891" y="2460"/>
                  <a:pt x="564961" y="242"/>
                  <a:pt x="570178" y="595"/>
                </a:cubicBezTo>
                <a:lnTo>
                  <a:pt x="592040" y="595"/>
                </a:lnTo>
                <a:lnTo>
                  <a:pt x="552452" y="46412"/>
                </a:lnTo>
                <a:lnTo>
                  <a:pt x="594403" y="112460"/>
                </a:lnTo>
                <a:lnTo>
                  <a:pt x="569587" y="112460"/>
                </a:lnTo>
                <a:cubicBezTo>
                  <a:pt x="562497" y="113037"/>
                  <a:pt x="555749" y="109288"/>
                  <a:pt x="552452" y="102939"/>
                </a:cubicBezTo>
                <a:lnTo>
                  <a:pt x="525864" y="61288"/>
                </a:lnTo>
                <a:lnTo>
                  <a:pt x="525864" y="111865"/>
                </a:lnTo>
                <a:lnTo>
                  <a:pt x="501638" y="111865"/>
                </a:lnTo>
                <a:cubicBezTo>
                  <a:pt x="498375" y="111865"/>
                  <a:pt x="495730" y="109201"/>
                  <a:pt x="495730" y="105915"/>
                </a:cubicBezTo>
                <a:close/>
              </a:path>
            </a:pathLst>
          </a:custGeom>
          <a:solidFill>
            <a:schemeClr val="accent1"/>
          </a:solidFill>
        </p:spPr>
        <p:txBody>
          <a:bodyPr wrap="square">
            <a:noAutofit/>
          </a:bodyPr>
          <a:lstStyle/>
          <a:p>
            <a:pPr lvl="0"/>
            <a:r>
              <a:rPr lang="nl-NL"/>
              <a:t> </a:t>
            </a:r>
            <a:endParaRPr lang="de-DE"/>
          </a:p>
        </p:txBody>
      </p:sp>
      <p:sp>
        <p:nvSpPr>
          <p:cNvPr id="14" name="Tijdelijke aanduiding voor tekst 13">
            <a:extLst>
              <a:ext uri="{FF2B5EF4-FFF2-40B4-BE49-F238E27FC236}">
                <a16:creationId xmlns:a16="http://schemas.microsoft.com/office/drawing/2014/main" id="{536E4269-8867-0AF9-A776-D2FCCE3006B8}"/>
              </a:ext>
            </a:extLst>
          </p:cNvPr>
          <p:cNvSpPr>
            <a:spLocks noGrp="1"/>
          </p:cNvSpPr>
          <p:nvPr>
            <p:ph type="body" sz="quarter" idx="13" hasCustomPrompt="1"/>
          </p:nvPr>
        </p:nvSpPr>
        <p:spPr>
          <a:xfrm>
            <a:off x="10075653" y="6347102"/>
            <a:ext cx="190772" cy="186145"/>
          </a:xfrm>
          <a:custGeom>
            <a:avLst/>
            <a:gdLst>
              <a:gd name="connsiteX0" fmla="*/ 72131 w 143079"/>
              <a:gd name="connsiteY0" fmla="*/ 0 h 139609"/>
              <a:gd name="connsiteX1" fmla="*/ 73313 w 143079"/>
              <a:gd name="connsiteY1" fmla="*/ 1190 h 139609"/>
              <a:gd name="connsiteX2" fmla="*/ 89266 w 143079"/>
              <a:gd name="connsiteY2" fmla="*/ 51767 h 139609"/>
              <a:gd name="connsiteX3" fmla="*/ 141262 w 143079"/>
              <a:gd name="connsiteY3" fmla="*/ 51767 h 139609"/>
              <a:gd name="connsiteX4" fmla="*/ 143064 w 143079"/>
              <a:gd name="connsiteY4" fmla="*/ 54086 h 139609"/>
              <a:gd name="connsiteX5" fmla="*/ 142443 w 143079"/>
              <a:gd name="connsiteY5" fmla="*/ 55337 h 139609"/>
              <a:gd name="connsiteX6" fmla="*/ 117627 w 143079"/>
              <a:gd name="connsiteY6" fmla="*/ 73783 h 139609"/>
              <a:gd name="connsiteX7" fmla="*/ 88084 w 143079"/>
              <a:gd name="connsiteY7" fmla="*/ 73783 h 139609"/>
              <a:gd name="connsiteX8" fmla="*/ 79221 w 143079"/>
              <a:gd name="connsiteY8" fmla="*/ 45222 h 139609"/>
              <a:gd name="connsiteX9" fmla="*/ 70359 w 143079"/>
              <a:gd name="connsiteY9" fmla="*/ 73783 h 139609"/>
              <a:gd name="connsiteX10" fmla="*/ 40816 w 143079"/>
              <a:gd name="connsiteY10" fmla="*/ 73783 h 139609"/>
              <a:gd name="connsiteX11" fmla="*/ 65041 w 143079"/>
              <a:gd name="connsiteY11" fmla="*/ 91634 h 139609"/>
              <a:gd name="connsiteX12" fmla="*/ 56178 w 143079"/>
              <a:gd name="connsiteY12" fmla="*/ 120195 h 139609"/>
              <a:gd name="connsiteX13" fmla="*/ 29589 w 143079"/>
              <a:gd name="connsiteY13" fmla="*/ 139236 h 139609"/>
              <a:gd name="connsiteX14" fmla="*/ 27504 w 143079"/>
              <a:gd name="connsiteY14" fmla="*/ 139108 h 139609"/>
              <a:gd name="connsiteX15" fmla="*/ 27226 w 143079"/>
              <a:gd name="connsiteY15" fmla="*/ 138641 h 139609"/>
              <a:gd name="connsiteX16" fmla="*/ 27029 w 143079"/>
              <a:gd name="connsiteY16" fmla="*/ 137055 h 139609"/>
              <a:gd name="connsiteX17" fmla="*/ 27226 w 143079"/>
              <a:gd name="connsiteY17" fmla="*/ 136856 h 139609"/>
              <a:gd name="connsiteX18" fmla="*/ 43179 w 143079"/>
              <a:gd name="connsiteY18" fmla="*/ 86279 h 139609"/>
              <a:gd name="connsiteX19" fmla="*/ 637 w 143079"/>
              <a:gd name="connsiteY19" fmla="*/ 55337 h 139609"/>
              <a:gd name="connsiteX20" fmla="*/ 577 w 143079"/>
              <a:gd name="connsiteY20" fmla="*/ 52393 h 139609"/>
              <a:gd name="connsiteX21" fmla="*/ 1819 w 143079"/>
              <a:gd name="connsiteY21" fmla="*/ 51767 h 139609"/>
              <a:gd name="connsiteX22" fmla="*/ 53815 w 143079"/>
              <a:gd name="connsiteY22" fmla="*/ 51767 h 139609"/>
              <a:gd name="connsiteX23" fmla="*/ 69768 w 143079"/>
              <a:gd name="connsiteY23" fmla="*/ 1190 h 139609"/>
              <a:gd name="connsiteX24" fmla="*/ 72131 w 143079"/>
              <a:gd name="connsiteY24" fmla="*/ 0 h 13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3079" h="139609">
                <a:moveTo>
                  <a:pt x="72131" y="0"/>
                </a:moveTo>
                <a:cubicBezTo>
                  <a:pt x="72760" y="55"/>
                  <a:pt x="73258" y="557"/>
                  <a:pt x="73313" y="1190"/>
                </a:cubicBezTo>
                <a:cubicBezTo>
                  <a:pt x="73904" y="3570"/>
                  <a:pt x="89266" y="51767"/>
                  <a:pt x="89266" y="51767"/>
                </a:cubicBezTo>
                <a:lnTo>
                  <a:pt x="141262" y="51767"/>
                </a:lnTo>
                <a:cubicBezTo>
                  <a:pt x="142395" y="51906"/>
                  <a:pt x="143203" y="52944"/>
                  <a:pt x="143064" y="54086"/>
                </a:cubicBezTo>
                <a:cubicBezTo>
                  <a:pt x="143007" y="54563"/>
                  <a:pt x="142787" y="55005"/>
                  <a:pt x="142443" y="55337"/>
                </a:cubicBezTo>
                <a:lnTo>
                  <a:pt x="117627" y="73783"/>
                </a:lnTo>
                <a:lnTo>
                  <a:pt x="88084" y="73783"/>
                </a:lnTo>
                <a:lnTo>
                  <a:pt x="79221" y="45222"/>
                </a:lnTo>
                <a:lnTo>
                  <a:pt x="70359" y="73783"/>
                </a:lnTo>
                <a:lnTo>
                  <a:pt x="40816" y="73783"/>
                </a:lnTo>
                <a:lnTo>
                  <a:pt x="65041" y="91634"/>
                </a:lnTo>
                <a:lnTo>
                  <a:pt x="56178" y="120195"/>
                </a:lnTo>
                <a:lnTo>
                  <a:pt x="29589" y="139236"/>
                </a:lnTo>
                <a:cubicBezTo>
                  <a:pt x="28978" y="139780"/>
                  <a:pt x="28045" y="139723"/>
                  <a:pt x="27504" y="139108"/>
                </a:cubicBezTo>
                <a:cubicBezTo>
                  <a:pt x="27384" y="138971"/>
                  <a:pt x="27289" y="138812"/>
                  <a:pt x="27226" y="138641"/>
                </a:cubicBezTo>
                <a:cubicBezTo>
                  <a:pt x="26736" y="138258"/>
                  <a:pt x="26648" y="137547"/>
                  <a:pt x="27029" y="137055"/>
                </a:cubicBezTo>
                <a:cubicBezTo>
                  <a:pt x="27086" y="136980"/>
                  <a:pt x="27152" y="136914"/>
                  <a:pt x="27226" y="136856"/>
                </a:cubicBezTo>
                <a:cubicBezTo>
                  <a:pt x="27817" y="134476"/>
                  <a:pt x="43179" y="86279"/>
                  <a:pt x="43179" y="86279"/>
                </a:cubicBezTo>
                <a:lnTo>
                  <a:pt x="637" y="55337"/>
                </a:lnTo>
                <a:cubicBezTo>
                  <a:pt x="-187" y="54541"/>
                  <a:pt x="-214" y="53223"/>
                  <a:pt x="577" y="52393"/>
                </a:cubicBezTo>
                <a:cubicBezTo>
                  <a:pt x="907" y="52046"/>
                  <a:pt x="1346" y="51825"/>
                  <a:pt x="1819" y="51767"/>
                </a:cubicBezTo>
                <a:lnTo>
                  <a:pt x="53815" y="51767"/>
                </a:lnTo>
                <a:cubicBezTo>
                  <a:pt x="53815" y="51767"/>
                  <a:pt x="69177" y="3570"/>
                  <a:pt x="69768" y="1190"/>
                </a:cubicBezTo>
                <a:cubicBezTo>
                  <a:pt x="70337" y="455"/>
                  <a:pt x="71205" y="18"/>
                  <a:pt x="72131" y="0"/>
                </a:cubicBezTo>
                <a:close/>
              </a:path>
            </a:pathLst>
          </a:custGeom>
          <a:solidFill>
            <a:schemeClr val="accent2"/>
          </a:solidFill>
        </p:spPr>
        <p:txBody>
          <a:bodyPr wrap="square">
            <a:noAutofit/>
          </a:bodyPr>
          <a:lstStyle>
            <a:lvl1pPr>
              <a:defRPr/>
            </a:lvl1pPr>
          </a:lstStyle>
          <a:p>
            <a:pPr lvl="0"/>
            <a:r>
              <a:rPr lang="nl-NL"/>
              <a:t> </a:t>
            </a:r>
            <a:endParaRPr lang="de-DE"/>
          </a:p>
        </p:txBody>
      </p:sp>
      <p:sp>
        <p:nvSpPr>
          <p:cNvPr id="2" name="Slide Number Placeholder 1">
            <a:extLst>
              <a:ext uri="{FF2B5EF4-FFF2-40B4-BE49-F238E27FC236}">
                <a16:creationId xmlns:a16="http://schemas.microsoft.com/office/drawing/2014/main" id="{419C55DB-CB9A-7C9F-DB78-76064169CDCA}"/>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5680844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p:custDataLst>
              <p:tags r:id="rId1"/>
            </p:custDataLst>
            <p:extLst>
              <p:ext uri="{D42A27DB-BD31-4B8C-83A1-F6EECF244321}">
                <p14:modId xmlns:p14="http://schemas.microsoft.com/office/powerpoint/2010/main" val="129669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4" name="Freeform: Shape 13">
            <a:extLst>
              <a:ext uri="{FF2B5EF4-FFF2-40B4-BE49-F238E27FC236}">
                <a16:creationId xmlns:a16="http://schemas.microsoft.com/office/drawing/2014/main" id="{3AAE0897-10C9-48C6-97E5-5DEAC03D34B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3"/>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629100"/>
            <a:ext cx="11082528" cy="410433"/>
          </a:xfrm>
        </p:spPr>
        <p:txBody>
          <a:bodyPr vert="horz">
            <a:spAutoFit/>
          </a:bodyPr>
          <a:lstStyle>
            <a:lvl1pPr rtl="0">
              <a:defRPr>
                <a:latin typeface="HEINEKEN Core" panose="02000503050000020004" pitchFamily="2" charset="0"/>
                <a:sym typeface="HEINEKEN Core" panose="02000503050000020004" pitchFamily="2" charset="0"/>
              </a:defRPr>
            </a:lvl1pPr>
          </a:lstStyle>
          <a:p>
            <a:r>
              <a:rPr lang="nl-NL"/>
              <a:t>Klik om stijl te bewerken</a:t>
            </a:r>
            <a:endParaRPr lang="en-US"/>
          </a:p>
        </p:txBody>
      </p:sp>
      <p:sp>
        <p:nvSpPr>
          <p:cNvPr id="10" name="5. Source" hidden="1">
            <a:extLst>
              <a:ext uri="{FF2B5EF4-FFF2-40B4-BE49-F238E27FC236}">
                <a16:creationId xmlns:a16="http://schemas.microsoft.com/office/drawing/2014/main" id="{81E2484B-3E40-408C-A350-5EB40C8A09F0}"/>
              </a:ext>
            </a:extLst>
          </p:cNvPr>
          <p:cNvSpPr txBox="1"/>
          <p:nvPr>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5" name="Slide Number Placeholder 1">
            <a:extLst>
              <a:ext uri="{FF2B5EF4-FFF2-40B4-BE49-F238E27FC236}">
                <a16:creationId xmlns:a16="http://schemas.microsoft.com/office/drawing/2014/main" id="{68486E90-B2A4-2461-D645-0A403CE4BD75}"/>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1034208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p:custDataLst>
              <p:tags r:id="rId1"/>
            </p:custDataLst>
            <p:extLst>
              <p:ext uri="{D42A27DB-BD31-4B8C-83A1-F6EECF244321}">
                <p14:modId xmlns:p14="http://schemas.microsoft.com/office/powerpoint/2010/main" val="88683954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8ABC38C9-399E-42C2-A3E9-4F05DD7747CB}"/>
              </a:ext>
            </a:extLst>
          </p:cNvPr>
          <p:cNvSpPr/>
          <p:nvPr/>
        </p:nvSpPr>
        <p:spPr bwMode="ltGray">
          <a:xfrm>
            <a:off x="5830109" y="0"/>
            <a:ext cx="6361891" cy="6858000"/>
          </a:xfrm>
          <a:custGeom>
            <a:avLst/>
            <a:gdLst>
              <a:gd name="connsiteX0" fmla="*/ 0 w 6361890"/>
              <a:gd name="connsiteY0" fmla="*/ 0 h 6858000"/>
              <a:gd name="connsiteX1" fmla="*/ 6361890 w 6361890"/>
              <a:gd name="connsiteY1" fmla="*/ 0 h 6858000"/>
              <a:gd name="connsiteX2" fmla="*/ 6361890 w 6361890"/>
              <a:gd name="connsiteY2" fmla="*/ 6858000 h 6858000"/>
              <a:gd name="connsiteX3" fmla="*/ 0 w 6361890"/>
              <a:gd name="connsiteY3" fmla="*/ 6858000 h 6858000"/>
              <a:gd name="connsiteX4" fmla="*/ 134 w 6361890"/>
              <a:gd name="connsiteY4" fmla="*/ 6857717 h 6858000"/>
              <a:gd name="connsiteX5" fmla="*/ 6166944 w 6361890"/>
              <a:gd name="connsiteY5" fmla="*/ 6857717 h 6858000"/>
              <a:gd name="connsiteX6" fmla="*/ 6166944 w 6361890"/>
              <a:gd name="connsiteY6" fmla="*/ 197879 h 6858000"/>
              <a:gd name="connsiteX7" fmla="*/ 93163 w 6361890"/>
              <a:gd name="connsiteY7" fmla="*/ 197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890" h="6858000">
                <a:moveTo>
                  <a:pt x="0" y="0"/>
                </a:moveTo>
                <a:lnTo>
                  <a:pt x="6361890" y="0"/>
                </a:lnTo>
                <a:lnTo>
                  <a:pt x="6361890" y="6858000"/>
                </a:lnTo>
                <a:lnTo>
                  <a:pt x="0" y="6858000"/>
                </a:lnTo>
                <a:lnTo>
                  <a:pt x="134" y="6857717"/>
                </a:lnTo>
                <a:lnTo>
                  <a:pt x="6166944" y="6857717"/>
                </a:lnTo>
                <a:lnTo>
                  <a:pt x="6166944" y="197879"/>
                </a:lnTo>
                <a:lnTo>
                  <a:pt x="93163" y="19787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sz="1875">
              <a:latin typeface="HEINEKEN Core" panose="02000503050000020004" pitchFamily="2" charset="0"/>
              <a:sym typeface="HEINEKEN Core" panose="02000503050000020004" pitchFamily="2" charset="0"/>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9" rtl="0" fontAlgn="auto">
              <a:spcBef>
                <a:spcPts val="0"/>
              </a:spcBef>
              <a:spcAft>
                <a:spcPts val="0"/>
              </a:spcAft>
              <a:defRPr/>
            </a:pPr>
            <a:fld id="{4ABDCABE-3F10-B64C-92F1-862014417034}" type="slidenum">
              <a:rPr lang="en-US" sz="900" b="0" smtClean="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rPr>
              <a:pPr algn="r" defTabSz="610729" rtl="0" fontAlgn="auto">
                <a:spcBef>
                  <a:spcPts val="0"/>
                </a:spcBef>
                <a:spcAft>
                  <a:spcPts val="0"/>
                </a:spcAft>
                <a:defRPr/>
              </a:pPr>
              <a:t>‹#›</a:t>
            </a:fld>
            <a:endParaRPr lang="en-US" sz="900" b="0">
              <a:solidFill>
                <a:schemeClr val="accent1"/>
              </a:solidFill>
              <a:latin typeface="HEINEKEN Core" panose="02000503050000020004" pitchFamily="2" charset="0"/>
              <a:ea typeface="+mn-ea"/>
              <a:cs typeface="Arial" panose="020B0604020202020204" pitchFamily="34" charset="0"/>
              <a:sym typeface="HEINEKEN Core" panose="02000503050000020004" pitchFamily="2" charset="0"/>
            </a:endParaRPr>
          </a:p>
        </p:txBody>
      </p:sp>
      <p:sp>
        <p:nvSpPr>
          <p:cNvPr id="7" name="5. Source" hidden="1">
            <a:extLst>
              <a:ext uri="{FF2B5EF4-FFF2-40B4-BE49-F238E27FC236}">
                <a16:creationId xmlns:a16="http://schemas.microsoft.com/office/drawing/2014/main" id="{09F9A864-CDB7-4063-BBF8-591908AA18D0}"/>
              </a:ext>
            </a:extLst>
          </p:cNvPr>
          <p:cNvSpPr txBox="1"/>
          <p:nvPr>
            <p:custDataLst>
              <p:tags r:id="rId3"/>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a:latin typeface="HEINEKEN Core" panose="02000503050000020004" pitchFamily="2" charset="0"/>
                <a:sym typeface="HEINEKEN Core" panose="02000503050000020004" pitchFamily="2"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8"/>
            <a:ext cx="3843339" cy="123111"/>
          </a:xfrm>
          <a:prstGeom prst="rect">
            <a:avLst/>
          </a:prstGeom>
          <a:ln w="6350">
            <a:noFill/>
            <a:miter lim="800000"/>
          </a:ln>
        </p:spPr>
        <p:txBody>
          <a:bodyPr vert="horz" wrap="square" lIns="0" tIns="0" rIns="0" bIns="0" rtlCol="0">
            <a:spAutoFit/>
          </a:bodyPr>
          <a:lstStyle>
            <a:lvl1pPr rtl="0">
              <a:defRPr lang="en-US" sz="800" b="0" dirty="0">
                <a:latin typeface="HEINEKEN Core" panose="02000503050000020004" pitchFamily="2" charset="0"/>
                <a:cs typeface="+mn-cs"/>
                <a:sym typeface="HEINEKEN Core" panose="02000503050000020004" pitchFamily="2" charset="0"/>
              </a:defRPr>
            </a:lvl1pPr>
          </a:lstStyle>
          <a:p>
            <a:pPr lvl="0">
              <a:buNone/>
            </a:pPr>
            <a:r>
              <a:rPr lang="en-US"/>
              <a:t>Add tracker</a:t>
            </a:r>
          </a:p>
        </p:txBody>
      </p:sp>
      <p:sp>
        <p:nvSpPr>
          <p:cNvPr id="3" name="Slide Number Placeholder 1">
            <a:extLst>
              <a:ext uri="{FF2B5EF4-FFF2-40B4-BE49-F238E27FC236}">
                <a16:creationId xmlns:a16="http://schemas.microsoft.com/office/drawing/2014/main" id="{92A89303-D55F-A537-1B21-BC553DD43C70}"/>
              </a:ext>
            </a:extLst>
          </p:cNvPr>
          <p:cNvSpPr>
            <a:spLocks noGrp="1"/>
          </p:cNvSpPr>
          <p:nvPr>
            <p:ph type="sldNum" sz="quarter" idx="4"/>
          </p:nvPr>
        </p:nvSpPr>
        <p:spPr>
          <a:xfrm>
            <a:off x="912426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0717526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ful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3EF6B1B-AD02-F84A-9F1F-F73F730C23AE}"/>
              </a:ext>
            </a:extLst>
          </p:cNvPr>
          <p:cNvSpPr>
            <a:spLocks noGrp="1"/>
          </p:cNvSpPr>
          <p:nvPr>
            <p:ph type="pic" sz="quarter" idx="10" hasCustomPrompt="1"/>
          </p:nvPr>
        </p:nvSpPr>
        <p:spPr>
          <a:xfrm>
            <a:off x="0" y="0"/>
            <a:ext cx="12192000" cy="246221"/>
          </a:xfrm>
          <a:solidFill>
            <a:schemeClr val="accent4">
              <a:alpha val="10000"/>
            </a:schemeClr>
          </a:solidFill>
        </p:spPr>
        <p:txBody>
          <a:bodyPr/>
          <a:lstStyle/>
          <a:p>
            <a:r>
              <a:rPr lang="en-US"/>
              <a:t> </a:t>
            </a:r>
          </a:p>
        </p:txBody>
      </p:sp>
      <p:sp>
        <p:nvSpPr>
          <p:cNvPr id="7" name="Title 6">
            <a:extLst>
              <a:ext uri="{FF2B5EF4-FFF2-40B4-BE49-F238E27FC236}">
                <a16:creationId xmlns:a16="http://schemas.microsoft.com/office/drawing/2014/main" id="{4C59E47B-4CEF-3642-841F-41E12FDFA162}"/>
              </a:ext>
            </a:extLst>
          </p:cNvPr>
          <p:cNvSpPr>
            <a:spLocks noGrp="1"/>
          </p:cNvSpPr>
          <p:nvPr>
            <p:ph type="title"/>
          </p:nvPr>
        </p:nvSpPr>
        <p:spPr/>
        <p:txBody>
          <a:bodyPr/>
          <a:lstStyle>
            <a:lvl1pPr>
              <a:defRPr>
                <a:solidFill>
                  <a:schemeClr val="tx2"/>
                </a:solidFill>
                <a:effectLst>
                  <a:outerShdw blurRad="381000" dist="12700" dir="5400000" algn="t" rotWithShape="0">
                    <a:prstClr val="black">
                      <a:alpha val="40000"/>
                    </a:prstClr>
                  </a:outerShdw>
                </a:effectLst>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57BEB58C-31F9-C952-8CCF-ADF4D70806F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6418730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co - gre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542C51-24AF-93F0-66F2-2B9E354033D1}"/>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32529625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Green [Flat]">
    <p:bg>
      <p:bgPr>
        <a:solidFill>
          <a:schemeClr val="bg1"/>
        </a:solidFill>
        <a:effectLst/>
      </p:bgPr>
    </p:bg>
    <p:spTree>
      <p:nvGrpSpPr>
        <p:cNvPr id="1" name=""/>
        <p:cNvGrpSpPr/>
        <p:nvPr/>
      </p:nvGrpSpPr>
      <p:grpSpPr>
        <a:xfrm>
          <a:off x="0" y="0"/>
          <a:ext cx="0" cy="0"/>
          <a:chOff x="0" y="0"/>
          <a:chExt cx="0" cy="0"/>
        </a:xfrm>
      </p:grpSpPr>
      <p:pic>
        <p:nvPicPr>
          <p:cNvPr id="6" name="Picture 3" descr="Background pattern&#10;&#10;Description automatically generated">
            <a:extLst>
              <a:ext uri="{FF2B5EF4-FFF2-40B4-BE49-F238E27FC236}">
                <a16:creationId xmlns:a16="http://schemas.microsoft.com/office/drawing/2014/main" id="{C2054B5C-1528-FBFE-A4D8-A33E6FFC407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7" name="Picture 4">
            <a:extLst>
              <a:ext uri="{FF2B5EF4-FFF2-40B4-BE49-F238E27FC236}">
                <a16:creationId xmlns:a16="http://schemas.microsoft.com/office/drawing/2014/main" id="{0C6EB121-407F-0E88-1BB7-2E2933D797AF}"/>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5" name="Title 14">
            <a:extLst>
              <a:ext uri="{FF2B5EF4-FFF2-40B4-BE49-F238E27FC236}">
                <a16:creationId xmlns:a16="http://schemas.microsoft.com/office/drawing/2014/main" id="{422DD614-3095-3041-9348-EC5C9717F947}"/>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89CB56A4-9D87-ABCB-A5E4-27F8DD70665C}"/>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838526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5586A44D-376F-C355-6E62-69C92965D1E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E5CB8095-1752-86E4-9919-863A7E800A2E}"/>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lang="en-US" sz="3000" b="1" kern="1200">
                <a:solidFill>
                  <a:schemeClr val="bg1"/>
                </a:solidFill>
                <a:latin typeface="HEINEKEN Core" panose="02000503050000020004" pitchFamily="2" charset="0"/>
                <a:ea typeface="+mj-ea"/>
                <a:cs typeface="+mj-cs"/>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48812E2-1765-A29B-31D3-0D6F789A5E0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13791588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Green [Gradient]">
    <p:bg>
      <p:bgPr>
        <a:solidFill>
          <a:schemeClr val="bg1"/>
        </a:solidFill>
        <a:effectLst/>
      </p:bgPr>
    </p:bg>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0F4BE913-D81D-A278-58AF-125AC8EA9C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4" name="Picture 4">
            <a:extLst>
              <a:ext uri="{FF2B5EF4-FFF2-40B4-BE49-F238E27FC236}">
                <a16:creationId xmlns:a16="http://schemas.microsoft.com/office/drawing/2014/main" id="{15EE7C5C-A8CC-D451-6CDB-15D8AB4A5DC5}"/>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6" y="0"/>
            <a:ext cx="12187065"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2" name="Slide Number Placeholder 1">
            <a:extLst>
              <a:ext uri="{FF2B5EF4-FFF2-40B4-BE49-F238E27FC236}">
                <a16:creationId xmlns:a16="http://schemas.microsoft.com/office/drawing/2014/main" id="{D3574C1D-0F02-B637-E397-EE62B9CA68A6}"/>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3073224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Green [Gradient]">
    <p:bg>
      <p:bgPr>
        <a:solidFill>
          <a:schemeClr val="bg1"/>
        </a:solidFill>
        <a:effectLst/>
      </p:bgPr>
    </p:bg>
    <p:spTree>
      <p:nvGrpSpPr>
        <p:cNvPr id="1" name=""/>
        <p:cNvGrpSpPr/>
        <p:nvPr/>
      </p:nvGrpSpPr>
      <p:grpSpPr>
        <a:xfrm>
          <a:off x="0" y="0"/>
          <a:ext cx="0" cy="0"/>
          <a:chOff x="0" y="0"/>
          <a:chExt cx="0" cy="0"/>
        </a:xfrm>
      </p:grpSpPr>
      <p:pic>
        <p:nvPicPr>
          <p:cNvPr id="2" name="Picture 3" descr="Background pattern&#10;&#10;Description automatically generated">
            <a:extLst>
              <a:ext uri="{FF2B5EF4-FFF2-40B4-BE49-F238E27FC236}">
                <a16:creationId xmlns:a16="http://schemas.microsoft.com/office/drawing/2014/main" id="{5E77003C-03CC-129E-9EA0-0DC63FA686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13" name="Title 12">
            <a:extLst>
              <a:ext uri="{FF2B5EF4-FFF2-40B4-BE49-F238E27FC236}">
                <a16:creationId xmlns:a16="http://schemas.microsoft.com/office/drawing/2014/main" id="{43EE5163-372A-5742-B529-90F0A0EE9A51}"/>
              </a:ext>
            </a:extLst>
          </p:cNvPr>
          <p:cNvSpPr>
            <a:spLocks noGrp="1"/>
          </p:cNvSpPr>
          <p:nvPr>
            <p:ph type="title"/>
          </p:nvPr>
        </p:nvSpPr>
        <p:spPr/>
        <p:txBody>
          <a:bodyPr/>
          <a:lstStyle>
            <a:lvl1pPr>
              <a:defRPr>
                <a:solidFill>
                  <a:schemeClr val="bg1"/>
                </a:solidFill>
              </a:defRPr>
            </a:lvl1pPr>
          </a:lstStyle>
          <a:p>
            <a:r>
              <a:rPr lang="nl-NL"/>
              <a:t>Klik om stijl te bewerken</a:t>
            </a:r>
            <a:endParaRPr lang="en-US"/>
          </a:p>
        </p:txBody>
      </p:sp>
      <p:sp>
        <p:nvSpPr>
          <p:cNvPr id="3" name="Slide Number Placeholder 1">
            <a:extLst>
              <a:ext uri="{FF2B5EF4-FFF2-40B4-BE49-F238E27FC236}">
                <a16:creationId xmlns:a16="http://schemas.microsoft.com/office/drawing/2014/main" id="{28447B59-EC0D-E21E-977F-EC1FBCAD1C4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bg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2279620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Green + Logo small">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2A1A2915-696B-2460-4AD5-B0B8F366BA9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7" y="0"/>
            <a:ext cx="12189533" cy="6858000"/>
          </a:xfrm>
          <a:prstGeom prst="rect">
            <a:avLst/>
          </a:prstGeom>
        </p:spPr>
      </p:pic>
      <p:pic>
        <p:nvPicPr>
          <p:cNvPr id="9" name="Picture 3">
            <a:extLst>
              <a:ext uri="{FF2B5EF4-FFF2-40B4-BE49-F238E27FC236}">
                <a16:creationId xmlns:a16="http://schemas.microsoft.com/office/drawing/2014/main" id="{BD2889FF-484D-90D9-6341-4B17D07E7E20}"/>
              </a:ext>
            </a:extLst>
          </p:cNvPr>
          <p:cNvPicPr>
            <a:picLocks noChangeAspect="1"/>
          </p:cNvPicPr>
          <p:nvPr userDrawn="1"/>
        </p:nvPicPr>
        <p:blipFill>
          <a:blip r:embed="rId4">
            <a:alphaModFix amt="50000"/>
            <a:extLst>
              <a:ext uri="{28A0092B-C50C-407E-A947-70E740481C1C}">
                <a14:useLocalDpi xmlns:a14="http://schemas.microsoft.com/office/drawing/2010/main"/>
              </a:ext>
            </a:extLst>
          </a:blip>
          <a:srcRect/>
          <a:stretch/>
        </p:blipFill>
        <p:spPr>
          <a:xfrm>
            <a:off x="1" y="1"/>
            <a:ext cx="12189532" cy="6857999"/>
          </a:xfrm>
          <a:prstGeom prst="rect">
            <a:avLst/>
          </a:prstGeom>
          <a:ln>
            <a:noFill/>
          </a:ln>
        </p:spPr>
      </p:pic>
      <p:sp>
        <p:nvSpPr>
          <p:cNvPr id="14" name="Заголовок 2"/>
          <p:cNvSpPr>
            <a:spLocks noGrp="1"/>
          </p:cNvSpPr>
          <p:nvPr>
            <p:ph type="title" hasCustomPrompt="1"/>
          </p:nvPr>
        </p:nvSpPr>
        <p:spPr>
          <a:xfrm>
            <a:off x="927308"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7100"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Name presenter</a:t>
            </a:r>
          </a:p>
        </p:txBody>
      </p:sp>
      <p:sp>
        <p:nvSpPr>
          <p:cNvPr id="4" name="Vrije vorm: vorm 6">
            <a:extLst>
              <a:ext uri="{FF2B5EF4-FFF2-40B4-BE49-F238E27FC236}">
                <a16:creationId xmlns:a16="http://schemas.microsoft.com/office/drawing/2014/main" id="{D4175842-505C-A805-9E4C-CFE9DF0F6028}"/>
              </a:ext>
            </a:extLst>
          </p:cNvPr>
          <p:cNvSpPr/>
          <p:nvPr userDrawn="1"/>
        </p:nvSpPr>
        <p:spPr>
          <a:xfrm>
            <a:off x="9446585" y="4106878"/>
            <a:ext cx="2742948" cy="2751124"/>
          </a:xfrm>
          <a:custGeom>
            <a:avLst/>
            <a:gdLst>
              <a:gd name="connsiteX0" fmla="*/ 1606809 w 2057211"/>
              <a:gd name="connsiteY0" fmla="*/ 0 h 2063343"/>
              <a:gd name="connsiteX1" fmla="*/ 1930637 w 2057211"/>
              <a:gd name="connsiteY1" fmla="*/ 32473 h 2063343"/>
              <a:gd name="connsiteX2" fmla="*/ 2057211 w 2057211"/>
              <a:gd name="connsiteY2" fmla="*/ 64847 h 2063343"/>
              <a:gd name="connsiteX3" fmla="*/ 2057211 w 2057211"/>
              <a:gd name="connsiteY3" fmla="*/ 2063343 h 2063343"/>
              <a:gd name="connsiteX4" fmla="*/ 69574 w 2057211"/>
              <a:gd name="connsiteY4" fmla="*/ 2063343 h 2063343"/>
              <a:gd name="connsiteX5" fmla="*/ 32645 w 2057211"/>
              <a:gd name="connsiteY5" fmla="*/ 1920478 h 2063343"/>
              <a:gd name="connsiteX6" fmla="*/ 0 w 2057211"/>
              <a:gd name="connsiteY6" fmla="*/ 1598354 h 2063343"/>
              <a:gd name="connsiteX7" fmla="*/ 1606809 w 2057211"/>
              <a:gd name="connsiteY7" fmla="*/ 0 h 2063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7211" h="2063343">
                <a:moveTo>
                  <a:pt x="1606809" y="0"/>
                </a:moveTo>
                <a:cubicBezTo>
                  <a:pt x="1717736" y="0"/>
                  <a:pt x="1826038" y="11182"/>
                  <a:pt x="1930637" y="32473"/>
                </a:cubicBezTo>
                <a:lnTo>
                  <a:pt x="2057211" y="64847"/>
                </a:lnTo>
                <a:lnTo>
                  <a:pt x="2057211" y="2063343"/>
                </a:lnTo>
                <a:lnTo>
                  <a:pt x="69574" y="2063343"/>
                </a:lnTo>
                <a:lnTo>
                  <a:pt x="32645" y="1920478"/>
                </a:lnTo>
                <a:cubicBezTo>
                  <a:pt x="11241" y="1816429"/>
                  <a:pt x="0" y="1708698"/>
                  <a:pt x="0" y="1598354"/>
                </a:cubicBezTo>
                <a:cubicBezTo>
                  <a:pt x="0" y="715607"/>
                  <a:pt x="719393" y="0"/>
                  <a:pt x="1606809" y="0"/>
                </a:cubicBezTo>
                <a:close/>
              </a:path>
            </a:pathLst>
          </a:custGeom>
          <a:gradFill>
            <a:gsLst>
              <a:gs pos="100000">
                <a:srgbClr val="FFFFFF">
                  <a:lumMod val="85000"/>
                </a:srgbClr>
              </a:gs>
              <a:gs pos="26000">
                <a:srgbClr val="FFFFFF"/>
              </a:gs>
            </a:gsLst>
            <a:lin ang="2700000" scaled="0"/>
          </a:gradFill>
          <a:ln w="12700" cap="flat">
            <a:noFill/>
            <a:miter lim="400000"/>
          </a:ln>
          <a:effectLst/>
          <a:sp3d/>
        </p:spPr>
        <p:txBody>
          <a:bodyPr rot="0" spcFirstLastPara="1" vertOverflow="overflow" horzOverflow="overflow" vert="horz" wrap="square" lIns="67733" tIns="67733" rIns="67733" bIns="67733" numCol="1" spcCol="38100" rtlCol="0" anchor="ctr">
            <a:noAutofit/>
          </a:bodyPr>
          <a:lstStyle/>
          <a:p>
            <a:pPr marL="0" marR="0" lvl="0" indent="0" algn="ctr" defTabSz="1100639" eaLnBrk="1" fontAlgn="auto" latinLnBrk="0" hangingPunct="0">
              <a:lnSpc>
                <a:spcPct val="100000"/>
              </a:lnSpc>
              <a:spcBef>
                <a:spcPts val="0"/>
              </a:spcBef>
              <a:spcAft>
                <a:spcPts val="0"/>
              </a:spcAft>
              <a:buClrTx/>
              <a:buSzTx/>
              <a:buFontTx/>
              <a:buNone/>
              <a:tabLst/>
              <a:defRPr/>
            </a:pPr>
            <a:endParaRPr kumimoji="0" lang="de-DE" sz="4267" b="0" i="0" u="none" strike="noStrike" kern="0" cap="none" spc="0" normalizeH="0" baseline="0" noProof="0">
              <a:ln>
                <a:noFill/>
              </a:ln>
              <a:solidFill>
                <a:srgbClr val="FFFFFF"/>
              </a:solidFill>
              <a:effectLst/>
              <a:uLnTx/>
              <a:uFillTx/>
              <a:sym typeface="Helvetica Light"/>
            </a:endParaRPr>
          </a:p>
        </p:txBody>
      </p:sp>
      <p:pic>
        <p:nvPicPr>
          <p:cNvPr id="5" name="Picture 4" descr="A picture containing text, vector graphics&#10;&#10;Description automatically generated">
            <a:extLst>
              <a:ext uri="{FF2B5EF4-FFF2-40B4-BE49-F238E27FC236}">
                <a16:creationId xmlns:a16="http://schemas.microsoft.com/office/drawing/2014/main" id="{211A30F1-9882-9C2B-52BD-597423A135C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07571" y="4941086"/>
            <a:ext cx="1676837" cy="1676837"/>
          </a:xfrm>
          <a:prstGeom prst="rect">
            <a:avLst/>
          </a:prstGeom>
        </p:spPr>
      </p:pic>
    </p:spTree>
    <p:extLst>
      <p:ext uri="{BB962C8B-B14F-4D97-AF65-F5344CB8AC3E}">
        <p14:creationId xmlns:p14="http://schemas.microsoft.com/office/powerpoint/2010/main" val="88654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image + Text">
    <p:bg>
      <p:bgPr>
        <a:solidFill>
          <a:schemeClr val="tx2">
            <a:lumMod val="85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3624EA-501E-4820-2695-825279C3135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14" name="Заголовок 2"/>
          <p:cNvSpPr>
            <a:spLocks noGrp="1"/>
          </p:cNvSpPr>
          <p:nvPr>
            <p:ph type="title" hasCustomPrompt="1"/>
          </p:nvPr>
        </p:nvSpPr>
        <p:spPr>
          <a:xfrm>
            <a:off x="927100" y="1609643"/>
            <a:ext cx="7117480" cy="3233291"/>
          </a:xfrm>
          <a:prstGeom prst="rect">
            <a:avLst/>
          </a:prstGeom>
          <a:effectLst/>
        </p:spPr>
        <p:txBody>
          <a:bodyPr tIns="0" bIns="91440" anchor="b" anchorCtr="0">
            <a:noAutofit/>
          </a:bodyPr>
          <a:lstStyle>
            <a:lvl1pPr algn="l">
              <a:lnSpc>
                <a:spcPct val="80000"/>
              </a:lnSpc>
              <a:defRPr sz="4000" b="1" i="0" kern="3000" spc="0" baseline="0">
                <a:solidFill>
                  <a:schemeClr val="tx2"/>
                </a:solidFill>
                <a:latin typeface="HEINEKEN Core ExtraBold" panose="02000503050000020004" pitchFamily="2" charset="0"/>
              </a:defRPr>
            </a:lvl1pPr>
          </a:lstStyle>
          <a:p>
            <a:r>
              <a:rPr lang="en-US"/>
              <a:t>This is a cover </a:t>
            </a:r>
            <a:br>
              <a:rPr lang="en-US"/>
            </a:br>
            <a:r>
              <a:rPr lang="en-US"/>
              <a:t>with  large title </a:t>
            </a:r>
            <a:br>
              <a:rPr lang="en-US"/>
            </a:br>
            <a:r>
              <a:rPr lang="en-US"/>
              <a:t>and a small logo</a:t>
            </a:r>
          </a:p>
        </p:txBody>
      </p:sp>
      <p:sp>
        <p:nvSpPr>
          <p:cNvPr id="3" name="Tijdelijke aanduiding voor tekst 2"/>
          <p:cNvSpPr>
            <a:spLocks noGrp="1"/>
          </p:cNvSpPr>
          <p:nvPr>
            <p:ph type="body" sz="quarter" idx="63" hasCustomPrompt="1"/>
          </p:nvPr>
        </p:nvSpPr>
        <p:spPr>
          <a:xfrm>
            <a:off x="926892" y="4848001"/>
            <a:ext cx="7117480" cy="516732"/>
          </a:xfrm>
          <a:prstGeom prst="rect">
            <a:avLst/>
          </a:prstGeom>
        </p:spPr>
        <p:txBody>
          <a:bodyPr>
            <a:normAutofit/>
          </a:bodyPr>
          <a:lstStyle>
            <a:lvl1pPr marL="0" indent="0">
              <a:buNone/>
              <a:defRPr sz="2000" b="0" i="0" cap="none" spc="400" baseline="0">
                <a:solidFill>
                  <a:schemeClr val="tx2"/>
                </a:solidFill>
                <a:latin typeface="HEINEKEN Core" panose="02000503050000020004" pitchFamily="2" charset="0"/>
              </a:defRPr>
            </a:lvl1pPr>
          </a:lstStyle>
          <a:p>
            <a:pPr lvl="0"/>
            <a:r>
              <a:rPr lang="nl-NL"/>
              <a:t>Subtitle</a:t>
            </a:r>
          </a:p>
        </p:txBody>
      </p:sp>
      <p:sp>
        <p:nvSpPr>
          <p:cNvPr id="2" name="Slide Number Placeholder 1">
            <a:extLst>
              <a:ext uri="{FF2B5EF4-FFF2-40B4-BE49-F238E27FC236}">
                <a16:creationId xmlns:a16="http://schemas.microsoft.com/office/drawing/2014/main" id="{5B6206BB-EB14-863C-BBF9-EF9A863CAE15}"/>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81987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tx2">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F05B6-AD10-C26F-5D82-0C9266C6D6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8" name="Picture Placeholder 7">
            <a:extLst>
              <a:ext uri="{FF2B5EF4-FFF2-40B4-BE49-F238E27FC236}">
                <a16:creationId xmlns:a16="http://schemas.microsoft.com/office/drawing/2014/main" id="{1AC5DABF-A580-DE31-811D-BB7A5A22E72E}"/>
              </a:ext>
            </a:extLst>
          </p:cNvPr>
          <p:cNvSpPr>
            <a:spLocks noGrp="1"/>
          </p:cNvSpPr>
          <p:nvPr>
            <p:ph type="pic" sz="quarter" idx="64"/>
          </p:nvPr>
        </p:nvSpPr>
        <p:spPr>
          <a:xfrm>
            <a:off x="0" y="0"/>
            <a:ext cx="12192000" cy="6858000"/>
          </a:xfrm>
          <a:prstGeom prst="rect">
            <a:avLst/>
          </a:prstGeom>
          <a:solidFill>
            <a:schemeClr val="tx1">
              <a:alpha val="10000"/>
            </a:schemeClr>
          </a:solidFill>
        </p:spPr>
        <p:txBody>
          <a:bodyPr/>
          <a:lstStyle>
            <a:lvl1pPr>
              <a:defRPr sz="1600">
                <a:latin typeface="HEINEKEN Core" panose="02000503050000020004" pitchFamily="2" charset="0"/>
              </a:defRPr>
            </a:lvl1pPr>
          </a:lstStyle>
          <a:p>
            <a:r>
              <a:rPr lang="en-GB"/>
              <a:t>Click icon to add picture</a:t>
            </a:r>
            <a:endParaRPr lang="de-DE"/>
          </a:p>
        </p:txBody>
      </p:sp>
      <p:sp>
        <p:nvSpPr>
          <p:cNvPr id="3" name="Slide Number Placeholder 1">
            <a:extLst>
              <a:ext uri="{FF2B5EF4-FFF2-40B4-BE49-F238E27FC236}">
                <a16:creationId xmlns:a16="http://schemas.microsoft.com/office/drawing/2014/main" id="{8C097435-9643-DCAE-5BB6-C46420D5016B}"/>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424731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920" userDrawn="1">
          <p15:clr>
            <a:srgbClr val="FBAE40"/>
          </p15:clr>
        </p15:guide>
        <p15:guide id="4" orient="horz" pos="34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5379E8-3C9E-A484-D1D2-081DCC47C484}"/>
              </a:ext>
            </a:extLst>
          </p:cNvPr>
          <p:cNvPicPr>
            <a:picLocks noChangeAspect="1"/>
          </p:cNvPicPr>
          <p:nvPr userDrawn="1"/>
        </p:nvPicPr>
        <p:blipFill>
          <a:blip r:embed="rId3">
            <a:alphaModFix amt="50000"/>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4" name="Vrije vorm: vorm 3">
            <a:extLst>
              <a:ext uri="{FF2B5EF4-FFF2-40B4-BE49-F238E27FC236}">
                <a16:creationId xmlns:a16="http://schemas.microsoft.com/office/drawing/2014/main" id="{FDCB0D12-3DE9-51AA-163C-8E85D62CDC47}"/>
              </a:ext>
            </a:extLst>
          </p:cNvPr>
          <p:cNvSpPr/>
          <p:nvPr userDrawn="1"/>
        </p:nvSpPr>
        <p:spPr>
          <a:xfrm>
            <a:off x="8795260" y="1040781"/>
            <a:ext cx="3394273" cy="5817220"/>
          </a:xfrm>
          <a:custGeom>
            <a:avLst/>
            <a:gdLst>
              <a:gd name="connsiteX0" fmla="*/ 2634141 w 2634141"/>
              <a:gd name="connsiteY0" fmla="*/ 0 h 4514479"/>
              <a:gd name="connsiteX1" fmla="*/ 2634141 w 2634141"/>
              <a:gd name="connsiteY1" fmla="*/ 4514479 h 4514479"/>
              <a:gd name="connsiteX2" fmla="*/ 210726 w 2634141"/>
              <a:gd name="connsiteY2" fmla="*/ 4514479 h 4514479"/>
              <a:gd name="connsiteX3" fmla="*/ 155494 w 2634141"/>
              <a:gd name="connsiteY3" fmla="*/ 4364368 h 4514479"/>
              <a:gd name="connsiteX4" fmla="*/ 0 w 2634141"/>
              <a:gd name="connsiteY4" fmla="*/ 3341284 h 4514479"/>
              <a:gd name="connsiteX5" fmla="*/ 2594278 w 2634141"/>
              <a:gd name="connsiteY5" fmla="*/ 9152 h 45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141" h="4514479">
                <a:moveTo>
                  <a:pt x="2634141" y="0"/>
                </a:moveTo>
                <a:lnTo>
                  <a:pt x="2634141" y="4514479"/>
                </a:lnTo>
                <a:lnTo>
                  <a:pt x="210726" y="4514479"/>
                </a:lnTo>
                <a:lnTo>
                  <a:pt x="155494" y="4364368"/>
                </a:lnTo>
                <a:cubicBezTo>
                  <a:pt x="54439" y="4041176"/>
                  <a:pt x="0" y="3697554"/>
                  <a:pt x="0" y="3341284"/>
                </a:cubicBezTo>
                <a:cubicBezTo>
                  <a:pt x="0" y="1738070"/>
                  <a:pt x="1102391" y="390977"/>
                  <a:pt x="2594278" y="9152"/>
                </a:cubicBezTo>
                <a:close/>
              </a:path>
            </a:pathLst>
          </a:custGeom>
          <a:gradFill>
            <a:gsLst>
              <a:gs pos="98000">
                <a:schemeClr val="tx2">
                  <a:lumMod val="85000"/>
                </a:schemeClr>
              </a:gs>
              <a:gs pos="34000">
                <a:schemeClr val="tx2"/>
              </a:gs>
            </a:gsLst>
            <a:lin ang="162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7733" tIns="67733" rIns="67733" bIns="67733" numCol="1" spcCol="38100" rtlCol="0" anchor="ctr">
            <a:noAutofit/>
          </a:bodyPr>
          <a:lstStyle/>
          <a:p>
            <a:pPr marL="0" marR="0" indent="0" algn="ctr" defTabSz="1100639" rtl="0" fontAlgn="auto" latinLnBrk="0" hangingPunct="0">
              <a:lnSpc>
                <a:spcPct val="100000"/>
              </a:lnSpc>
              <a:spcBef>
                <a:spcPts val="0"/>
              </a:spcBef>
              <a:spcAft>
                <a:spcPts val="0"/>
              </a:spcAft>
              <a:buClrTx/>
              <a:buSzTx/>
              <a:buFontTx/>
              <a:buNone/>
              <a:tabLst/>
            </a:pPr>
            <a:endParaRPr kumimoji="0" lang="de-DE" sz="4267" b="0" i="0" u="none" strike="noStrike" cap="none" spc="0" normalizeH="0" baseline="0">
              <a:ln>
                <a:noFill/>
              </a:ln>
              <a:solidFill>
                <a:srgbClr val="FFFFFF"/>
              </a:solidFill>
              <a:effectLst/>
              <a:uFillTx/>
              <a:latin typeface="+mn-lt"/>
              <a:ea typeface="+mn-ea"/>
              <a:cs typeface="+mn-cs"/>
              <a:sym typeface="Helvetica Light"/>
            </a:endParaRPr>
          </a:p>
        </p:txBody>
      </p:sp>
      <p:sp>
        <p:nvSpPr>
          <p:cNvPr id="42" name="Текст 7"/>
          <p:cNvSpPr>
            <a:spLocks noGrp="1"/>
          </p:cNvSpPr>
          <p:nvPr>
            <p:ph type="body" sz="quarter" idx="39" hasCustomPrompt="1"/>
          </p:nvPr>
        </p:nvSpPr>
        <p:spPr>
          <a:xfrm>
            <a:off x="927100" y="2017755"/>
            <a:ext cx="10317835" cy="3955919"/>
          </a:xfrm>
          <a:prstGeom prst="rect">
            <a:avLst/>
          </a:prstGeom>
        </p:spPr>
        <p:txBody>
          <a:bodyPr tIns="73152" anchor="t">
            <a:noAutofit/>
          </a:bodyPr>
          <a:lstStyle>
            <a:lvl1pPr marL="0" marR="0" indent="0" algn="l" defTabSz="914136" rtl="0" eaLnBrk="1" fontAlgn="auto" latinLnBrk="0" hangingPunct="1">
              <a:lnSpc>
                <a:spcPct val="145000"/>
              </a:lnSpc>
              <a:spcBef>
                <a:spcPts val="0"/>
              </a:spcBef>
              <a:spcAft>
                <a:spcPts val="0"/>
              </a:spcAft>
              <a:buClrTx/>
              <a:buSzPct val="125000"/>
              <a:buFont typeface="Arial" panose="020B0604020202020204" pitchFamily="34" charset="0"/>
              <a:buNone/>
              <a:tabLst/>
              <a:defRPr lang="en-US" sz="1400" b="0" i="0" baseline="0" smtClean="0">
                <a:solidFill>
                  <a:schemeClr val="tx1"/>
                </a:solidFill>
                <a:effectLst/>
                <a:latin typeface="HEINEKEN Core" panose="02000503050000020004" pitchFamily="2" charset="0"/>
              </a:defRPr>
            </a:lvl1pPr>
            <a:lvl2pPr marL="180975" indent="-180975" algn="l">
              <a:lnSpc>
                <a:spcPct val="120000"/>
              </a:lnSpc>
              <a:spcAft>
                <a:spcPts val="500"/>
              </a:spcAft>
              <a:defRPr/>
            </a:lvl2pPr>
            <a:lvl3pPr marL="357188" indent="-180975" algn="l">
              <a:lnSpc>
                <a:spcPct val="120000"/>
              </a:lnSpc>
              <a:spcAft>
                <a:spcPts val="500"/>
              </a:spcAft>
              <a:defRPr/>
            </a:lvl3pPr>
            <a:lvl4pPr marL="538163" indent="-180975" algn="l">
              <a:lnSpc>
                <a:spcPct val="120000"/>
              </a:lnSpc>
              <a:spcAft>
                <a:spcPts val="500"/>
              </a:spcAft>
              <a:defRPr/>
            </a:lvl4pPr>
            <a:lvl5pPr marL="717550" indent="-180975" algn="l">
              <a:lnSpc>
                <a:spcPct val="120000"/>
              </a:lnSpc>
              <a:spcAft>
                <a:spcPts val="500"/>
              </a:spcAft>
              <a:defRPr/>
            </a:lvl5pPr>
          </a:lstStyle>
          <a:p>
            <a:r>
              <a:rPr lang="en-US"/>
              <a:t>Text here</a:t>
            </a:r>
          </a:p>
          <a:p>
            <a:pPr lvl="1"/>
            <a:r>
              <a:rPr lang="en-US"/>
              <a:t>Level 2</a:t>
            </a:r>
          </a:p>
          <a:p>
            <a:pPr lvl="2"/>
            <a:r>
              <a:rPr lang="en-US"/>
              <a:t>Level 3</a:t>
            </a:r>
          </a:p>
          <a:p>
            <a:pPr lvl="3"/>
            <a:r>
              <a:rPr lang="en-US"/>
              <a:t>Level 4</a:t>
            </a:r>
          </a:p>
          <a:p>
            <a:pPr lvl="4"/>
            <a:r>
              <a:rPr lang="en-US"/>
              <a:t>Level 5</a:t>
            </a:r>
          </a:p>
        </p:txBody>
      </p:sp>
      <p:sp>
        <p:nvSpPr>
          <p:cNvPr id="10" name="Заголовок 2"/>
          <p:cNvSpPr>
            <a:spLocks noGrp="1"/>
          </p:cNvSpPr>
          <p:nvPr>
            <p:ph type="title" hasCustomPrompt="1"/>
          </p:nvPr>
        </p:nvSpPr>
        <p:spPr>
          <a:xfrm>
            <a:off x="456955" y="536715"/>
            <a:ext cx="10495968" cy="335999"/>
          </a:xfrm>
          <a:prstGeom prst="rect">
            <a:avLst/>
          </a:prstGeom>
          <a:effectLst/>
        </p:spPr>
        <p:txBody>
          <a:bodyPr tIns="0" bIns="91440" anchor="t" anchorCtr="0"/>
          <a:lstStyle>
            <a:lvl1pPr algn="l">
              <a:lnSpc>
                <a:spcPct val="80000"/>
              </a:lnSpc>
              <a:defRPr sz="3000" b="1" i="0" kern="3000" spc="0" baseline="0">
                <a:solidFill>
                  <a:schemeClr val="tx1"/>
                </a:solidFill>
                <a:latin typeface="HEINEKEN Core ExtraBold" panose="02000503050000020004" pitchFamily="2" charset="0"/>
              </a:defRPr>
            </a:lvl1pPr>
          </a:lstStyle>
          <a:p>
            <a:r>
              <a:rPr lang="en-US"/>
              <a:t>Title here</a:t>
            </a:r>
          </a:p>
        </p:txBody>
      </p:sp>
      <p:sp>
        <p:nvSpPr>
          <p:cNvPr id="9" name="Tijdelijke aanduiding voor tekst 2">
            <a:extLst>
              <a:ext uri="{FF2B5EF4-FFF2-40B4-BE49-F238E27FC236}">
                <a16:creationId xmlns:a16="http://schemas.microsoft.com/office/drawing/2014/main" id="{8C48B252-BC29-8F44-AF08-AA5E3151DCAE}"/>
              </a:ext>
            </a:extLst>
          </p:cNvPr>
          <p:cNvSpPr>
            <a:spLocks noGrp="1"/>
          </p:cNvSpPr>
          <p:nvPr>
            <p:ph type="body" sz="quarter" idx="63" hasCustomPrompt="1"/>
          </p:nvPr>
        </p:nvSpPr>
        <p:spPr>
          <a:xfrm>
            <a:off x="456955" y="864000"/>
            <a:ext cx="10437759" cy="300831"/>
          </a:xfrm>
          <a:prstGeom prst="rect">
            <a:avLst/>
          </a:prstGeom>
        </p:spPr>
        <p:txBody>
          <a:bodyPr>
            <a:noAutofit/>
          </a:bodyPr>
          <a:lstStyle>
            <a:lvl1pPr marL="0" indent="0">
              <a:buNone/>
              <a:defRPr sz="1600" b="0" i="0" cap="none" spc="400" baseline="0">
                <a:solidFill>
                  <a:schemeClr val="bg1"/>
                </a:solidFill>
                <a:latin typeface="HEINEKEN Core" panose="02000503050000020004" pitchFamily="2" charset="0"/>
                <a:ea typeface="HEINEKEN Core" panose="02000503050000020004" pitchFamily="2" charset="0"/>
                <a:cs typeface="HEINEKEN Core" panose="02000503050000020004" pitchFamily="2" charset="0"/>
              </a:defRPr>
            </a:lvl1pPr>
            <a:lvl2pPr marL="317492" indent="0">
              <a:buNone/>
              <a:defRPr sz="1800" cap="all" baseline="0"/>
            </a:lvl2pPr>
            <a:lvl3pPr marL="634984" indent="0">
              <a:buNone/>
              <a:defRPr sz="1800" cap="all" baseline="0"/>
            </a:lvl3pPr>
            <a:lvl4pPr marL="952476" indent="0">
              <a:buNone/>
              <a:defRPr sz="1800" cap="all" baseline="0"/>
            </a:lvl4pPr>
            <a:lvl5pPr marL="1269968" indent="0">
              <a:buNone/>
              <a:defRPr sz="1800" cap="all" baseline="0"/>
            </a:lvl5pPr>
          </a:lstStyle>
          <a:p>
            <a:pPr lvl="0"/>
            <a:r>
              <a:rPr lang="nl-NL" err="1"/>
              <a:t>Subtitle</a:t>
            </a:r>
            <a:r>
              <a:rPr lang="nl-NL"/>
              <a:t> in </a:t>
            </a:r>
            <a:r>
              <a:rPr lang="nl-NL" err="1"/>
              <a:t>here</a:t>
            </a:r>
            <a:endParaRPr lang="nl-NL"/>
          </a:p>
        </p:txBody>
      </p:sp>
      <p:sp>
        <p:nvSpPr>
          <p:cNvPr id="3" name="Slide Number Placeholder 1">
            <a:extLst>
              <a:ext uri="{FF2B5EF4-FFF2-40B4-BE49-F238E27FC236}">
                <a16:creationId xmlns:a16="http://schemas.microsoft.com/office/drawing/2014/main" id="{9BE59C43-7D7A-27C0-530F-D7EA0C68BA6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pic>
        <p:nvPicPr>
          <p:cNvPr id="5" name="Picture 4" descr="A picture containing text, vector graphics&#10;&#10;Description automatically generated">
            <a:extLst>
              <a:ext uri="{FF2B5EF4-FFF2-40B4-BE49-F238E27FC236}">
                <a16:creationId xmlns:a16="http://schemas.microsoft.com/office/drawing/2014/main" id="{56558531-17CE-64CC-EC88-33768C1309A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023958" y="491991"/>
            <a:ext cx="726349" cy="726349"/>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slideLayout" Target="../slideLayouts/slideLayout53.xml"/><Relationship Id="rId34" Type="http://schemas.openxmlformats.org/officeDocument/2006/relationships/tags" Target="../tags/tag13.xml"/><Relationship Id="rId42" Type="http://schemas.openxmlformats.org/officeDocument/2006/relationships/tags" Target="../tags/tag21.xml"/><Relationship Id="rId47" Type="http://schemas.openxmlformats.org/officeDocument/2006/relationships/image" Target="../media/image24.emf"/><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tags" Target="../tags/tag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45" Type="http://schemas.openxmlformats.org/officeDocument/2006/relationships/image" Target="../media/image3.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heme" Target="../theme/theme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10.xml"/><Relationship Id="rId44" Type="http://schemas.openxmlformats.org/officeDocument/2006/relationships/image" Target="../media/image2.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tags" Target="../tags/tag22.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 Id="rId46" Type="http://schemas.openxmlformats.org/officeDocument/2006/relationships/oleObject" Target="../embeddings/oleObject2.bin"/><Relationship Id="rId20" Type="http://schemas.openxmlformats.org/officeDocument/2006/relationships/slideLayout" Target="../slideLayouts/slideLayout52.xml"/><Relationship Id="rId41" Type="http://schemas.openxmlformats.org/officeDocument/2006/relationships/tags" Target="../tags/tag2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7.xml"/><Relationship Id="rId7" Type="http://schemas.openxmlformats.org/officeDocument/2006/relationships/image" Target="../media/image3.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image" Target="../media/image2.png"/><Relationship Id="rId5" Type="http://schemas.openxmlformats.org/officeDocument/2006/relationships/theme" Target="../theme/theme3.xml"/><Relationship Id="rId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1BDE74-67D5-C6B7-6720-6BD16B8AEE31}"/>
              </a:ext>
            </a:extLst>
          </p:cNvPr>
          <p:cNvPicPr>
            <a:picLocks noChangeAspect="1"/>
          </p:cNvPicPr>
          <p:nvPr userDrawn="1"/>
        </p:nvPicPr>
        <p:blipFill>
          <a:blip r:embed="rId35">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sp>
        <p:nvSpPr>
          <p:cNvPr id="2" name="Slide Number Placeholder 1">
            <a:extLst>
              <a:ext uri="{FF2B5EF4-FFF2-40B4-BE49-F238E27FC236}">
                <a16:creationId xmlns:a16="http://schemas.microsoft.com/office/drawing/2014/main" id="{BDB5DA64-40AD-1221-1A46-2E796DA8D682}"/>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
        <p:nvSpPr>
          <p:cNvPr id="4" name="Text Placeholder 3">
            <a:extLst>
              <a:ext uri="{FF2B5EF4-FFF2-40B4-BE49-F238E27FC236}">
                <a16:creationId xmlns:a16="http://schemas.microsoft.com/office/drawing/2014/main" id="{8887DD82-BAE4-3BA2-E93E-94C3754CED0D}"/>
              </a:ext>
            </a:extLst>
          </p:cNvPr>
          <p:cNvSpPr>
            <a:spLocks noGrp="1"/>
          </p:cNvSpPr>
          <p:nvPr>
            <p:ph type="body" idx="1"/>
          </p:nvPr>
        </p:nvSpPr>
        <p:spPr>
          <a:xfrm>
            <a:off x="456001" y="2017755"/>
            <a:ext cx="10897800" cy="395592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9" name="Title Placeholder 8">
            <a:extLst>
              <a:ext uri="{FF2B5EF4-FFF2-40B4-BE49-F238E27FC236}">
                <a16:creationId xmlns:a16="http://schemas.microsoft.com/office/drawing/2014/main" id="{A857A0D8-1645-E2CD-4F6C-8697E159B221}"/>
              </a:ext>
            </a:extLst>
          </p:cNvPr>
          <p:cNvSpPr>
            <a:spLocks noGrp="1"/>
          </p:cNvSpPr>
          <p:nvPr>
            <p:ph type="title"/>
          </p:nvPr>
        </p:nvSpPr>
        <p:spPr>
          <a:xfrm>
            <a:off x="456000" y="537601"/>
            <a:ext cx="10515600" cy="335999"/>
          </a:xfrm>
          <a:prstGeom prst="rect">
            <a:avLst/>
          </a:prstGeom>
          <a:effectLst/>
        </p:spPr>
        <p:txBody>
          <a:bodyPr tIns="0" bIns="91440" anchor="t" anchorCtr="0"/>
          <a:lstStyle/>
          <a:p>
            <a:pPr lvl="0" algn="l" fontAlgn="auto">
              <a:lnSpc>
                <a:spcPct val="80000"/>
              </a:lnSpc>
            </a:pPr>
            <a:r>
              <a:rPr lang="en-GB"/>
              <a:t>Click to edit master title style</a:t>
            </a:r>
            <a:endParaRPr lang="de-DE"/>
          </a:p>
        </p:txBody>
      </p:sp>
    </p:spTree>
  </p:cSld>
  <p:clrMap bg1="lt1" tx1="dk1" bg2="lt2" tx2="dk2" accent1="accent1" accent2="accent2" accent3="accent3" accent4="accent4" accent5="accent5" accent6="accent6" hlink="hlink" folHlink="folHlink"/>
  <p:sldLayoutIdLst>
    <p:sldLayoutId id="2147483683" r:id="rId1"/>
    <p:sldLayoutId id="2147483728" r:id="rId2"/>
    <p:sldLayoutId id="2147483729" r:id="rId3"/>
    <p:sldLayoutId id="2147483723" r:id="rId4"/>
    <p:sldLayoutId id="2147483730" r:id="rId5"/>
    <p:sldLayoutId id="2147483724" r:id="rId6"/>
    <p:sldLayoutId id="2147483725" r:id="rId7"/>
    <p:sldLayoutId id="2147483731" r:id="rId8"/>
    <p:sldLayoutId id="2147483671" r:id="rId9"/>
    <p:sldLayoutId id="2147483672" r:id="rId10"/>
    <p:sldLayoutId id="2147483726" r:id="rId11"/>
    <p:sldLayoutId id="2147483675" r:id="rId12"/>
    <p:sldLayoutId id="2147483667" r:id="rId13"/>
    <p:sldLayoutId id="2147483691" r:id="rId14"/>
    <p:sldLayoutId id="2147483699" r:id="rId15"/>
    <p:sldLayoutId id="2147483732" r:id="rId16"/>
    <p:sldLayoutId id="2147483721" r:id="rId17"/>
    <p:sldLayoutId id="2147483719" r:id="rId18"/>
    <p:sldLayoutId id="2147483720"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p:titleStyle>
    <p:body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pos="7680">
          <p15:clr>
            <a:srgbClr val="F26B43"/>
          </p15:clr>
        </p15:guide>
        <p15:guide id="2" orient="horz" pos="2160">
          <p15:clr>
            <a:srgbClr val="F26B43"/>
          </p15:clr>
        </p15:guide>
        <p15:guide id="3">
          <p15:clr>
            <a:srgbClr val="F26B43"/>
          </p15:clr>
        </p15:guide>
        <p15:guide id="4" orient="horz">
          <p15:clr>
            <a:srgbClr val="F26B43"/>
          </p15:clr>
        </p15:guide>
        <p15:guide id="5" orient="horz" pos="4320">
          <p15:clr>
            <a:srgbClr val="F26B43"/>
          </p15:clr>
        </p15:guide>
        <p15:guide id="6" pos="3840">
          <p15:clr>
            <a:srgbClr val="F26B43"/>
          </p15:clr>
        </p15:guide>
        <p15:guide id="7" pos="272">
          <p15:clr>
            <a:srgbClr val="F26B43"/>
          </p15:clr>
        </p15:guide>
        <p15:guide id="8" pos="7076">
          <p15:clr>
            <a:srgbClr val="F26B43"/>
          </p15:clr>
        </p15:guide>
        <p15:guide id="9" orient="horz" pos="332">
          <p15:clr>
            <a:srgbClr val="F26B43"/>
          </p15:clr>
        </p15:guide>
        <p15:guide id="10" orient="horz" pos="3756">
          <p15:clr>
            <a:srgbClr val="F26B43"/>
          </p15:clr>
        </p15:guide>
        <p15:guide id="11" pos="6900">
          <p15:clr>
            <a:srgbClr val="F26B43"/>
          </p15:clr>
        </p15:guide>
        <p15:guide id="12" orient="horz" pos="1268">
          <p15:clr>
            <a:srgbClr val="F26B43"/>
          </p15:clr>
        </p15:guide>
        <p15:guide id="13" pos="584">
          <p15:clr>
            <a:srgbClr val="F26B43"/>
          </p15:clr>
        </p15:guide>
        <p15:guide id="14" orient="horz" pos="860">
          <p15:clr>
            <a:srgbClr val="F26B43"/>
          </p15:clr>
        </p15:guide>
        <p15:guide id="15" orient="horz" pos="3052">
          <p15:clr>
            <a:srgbClr val="F26B43"/>
          </p15:clr>
        </p15:guide>
        <p15:guide id="16" pos="36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7C3A5F4-201E-90EA-28D9-2DDFBA4E752E}"/>
              </a:ext>
            </a:extLst>
          </p:cNvPr>
          <p:cNvPicPr>
            <a:picLocks noChangeAspect="1"/>
          </p:cNvPicPr>
          <p:nvPr userDrawn="1"/>
        </p:nvPicPr>
        <p:blipFill>
          <a:blip r:embed="rId44">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6" name="Picture 1">
            <a:extLst>
              <a:ext uri="{FF2B5EF4-FFF2-40B4-BE49-F238E27FC236}">
                <a16:creationId xmlns:a16="http://schemas.microsoft.com/office/drawing/2014/main" id="{81D64A67-8CC7-15E1-48BD-A856FDA78F5D}"/>
              </a:ext>
            </a:extLst>
          </p:cNvPr>
          <p:cNvPicPr>
            <a:picLocks noChangeAspect="1"/>
          </p:cNvPicPr>
          <p:nvPr userDrawn="1"/>
        </p:nvPicPr>
        <p:blipFill>
          <a:blip r:embed="rId45">
            <a:extLst>
              <a:ext uri="{28A0092B-C50C-407E-A947-70E740481C1C}">
                <a14:useLocalDpi xmlns:a14="http://schemas.microsoft.com/office/drawing/2010/main"/>
              </a:ext>
            </a:extLst>
          </a:blip>
          <a:srcRect/>
          <a:stretch/>
        </p:blipFill>
        <p:spPr>
          <a:xfrm>
            <a:off x="2468" y="0"/>
            <a:ext cx="12187065" cy="6858000"/>
          </a:xfrm>
          <a:prstGeom prst="rect">
            <a:avLst/>
          </a:prstGeom>
        </p:spPr>
      </p:pic>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24"/>
            </p:custDataLst>
            <p:extLst>
              <p:ext uri="{D42A27DB-BD31-4B8C-83A1-F6EECF244321}">
                <p14:modId xmlns:p14="http://schemas.microsoft.com/office/powerpoint/2010/main" val="86100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p:custDataLst>
              <p:tags r:id="rId25"/>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HEINEKEN Core" panose="02000503050000020004" pitchFamily="2" charset="0"/>
              <a:ea typeface="+mj-ea"/>
              <a:cs typeface="+mj-cs"/>
              <a:sym typeface="HEINEKEN Core" panose="02000503050000020004" pitchFamily="2"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26"/>
            </p:custDataLst>
          </p:nvPr>
        </p:nvSpPr>
        <p:spPr>
          <a:xfrm>
            <a:off x="553972" y="6278402"/>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latin typeface="HEINEKEN Core" panose="02000503050000020004" pitchFamily="2" charset="0"/>
                <a:sym typeface="HEINEKEN Core" panose="02000503050000020004" pitchFamily="2"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75">
                <a:solidFill>
                  <a:schemeClr val="tx1"/>
                </a:solidFill>
                <a:latin typeface="HEINEKEN Core" panose="02000503050000020004" pitchFamily="2" charset="0"/>
                <a:sym typeface="HEINEKEN Core" panose="02000503050000020004" pitchFamily="2"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HEINEKEN Core" panose="02000503050000020004" pitchFamily="2" charset="0"/>
                <a:sym typeface="HEINEKEN Core" panose="02000503050000020004" pitchFamily="2"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HEINEKEN Core" panose="02000503050000020004" pitchFamily="2" charset="0"/>
                <a:sym typeface="HEINEKEN Core" panose="02000503050000020004" pitchFamily="2"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p:nvSpPr>
        <p:spPr>
          <a:xfrm>
            <a:off x="554739" y="1379830"/>
            <a:ext cx="394339"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latin typeface="HEINEKEN Core" panose="02000503050000020004" pitchFamily="2" charset="0"/>
                <a:sym typeface="HEINEKEN Core" panose="02000503050000020004" pitchFamily="2"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p:custDataLst>
              <p:tags r:id="rId27"/>
            </p:custDataLst>
          </p:nvPr>
        </p:nvSpPr>
        <p:spPr>
          <a:xfrm>
            <a:off x="554736" y="2170801"/>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latin typeface="HEINEKEN Core" panose="02000503050000020004" pitchFamily="2" charset="0"/>
                <a:sym typeface="HEINEKEN Core" panose="02000503050000020004" pitchFamily="2" charset="0"/>
              </a:rPr>
              <a:t>Above Chart Exhibit Title</a:t>
            </a:r>
          </a:p>
          <a:p>
            <a:pPr lvl="0"/>
            <a:r>
              <a:rPr lang="en-US" sz="1600" b="0">
                <a:latin typeface="HEINEKEN Core" panose="02000503050000020004" pitchFamily="2" charset="0"/>
                <a:sym typeface="HEINEKEN Core" panose="02000503050000020004" pitchFamily="2"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2170802"/>
            <a:ext cx="2769663" cy="1631216"/>
          </a:xfrm>
          <a:prstGeom prst="rect">
            <a:avLst/>
          </a:prstGeom>
        </p:spPr>
        <p:txBody>
          <a:bodyPr vert="horz" wrap="square" lIns="0" tIns="0" rIns="0" bIns="0" rtlCol="0">
            <a:sp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grpSp>
        <p:nvGrpSpPr>
          <p:cNvPr id="170" name="LegendLines" hidden="1">
            <a:extLst>
              <a:ext uri="{FF2B5EF4-FFF2-40B4-BE49-F238E27FC236}">
                <a16:creationId xmlns:a16="http://schemas.microsoft.com/office/drawing/2014/main" id="{9F039AC1-56A9-4752-98E6-CF6DE1F7BEB5}"/>
              </a:ext>
            </a:extLst>
          </p:cNvPr>
          <p:cNvGrpSpPr/>
          <p:nvPr/>
        </p:nvGrpSpPr>
        <p:grpSpPr>
          <a:xfrm>
            <a:off x="10317291" y="3150219"/>
            <a:ext cx="1273474" cy="958286"/>
            <a:chOff x="10162879" y="3243771"/>
            <a:chExt cx="1273476" cy="958287"/>
          </a:xfrm>
        </p:grpSpPr>
        <p:sp>
          <p:nvSpPr>
            <p:cNvPr id="171" name="Legend1" hidden="1">
              <a:extLst>
                <a:ext uri="{FF2B5EF4-FFF2-40B4-BE49-F238E27FC236}">
                  <a16:creationId xmlns:a16="http://schemas.microsoft.com/office/drawing/2014/main" id="{6DD274EB-2F2A-4962-AE22-668D2A210B16}"/>
                </a:ext>
              </a:extLst>
            </p:cNvPr>
            <p:cNvSpPr txBox="1"/>
            <p:nvPr/>
          </p:nvSpPr>
          <p:spPr>
            <a:xfrm>
              <a:off x="10886523" y="324377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2" name="Legend2" hidden="1">
              <a:extLst>
                <a:ext uri="{FF2B5EF4-FFF2-40B4-BE49-F238E27FC236}">
                  <a16:creationId xmlns:a16="http://schemas.microsoft.com/office/drawing/2014/main" id="{28D0A87B-45F7-4085-AEC9-5B2535601DF0}"/>
                </a:ext>
              </a:extLst>
            </p:cNvPr>
            <p:cNvSpPr txBox="1"/>
            <p:nvPr/>
          </p:nvSpPr>
          <p:spPr>
            <a:xfrm>
              <a:off x="10886524" y="361519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3" name="Legend3" hidden="1">
              <a:extLst>
                <a:ext uri="{FF2B5EF4-FFF2-40B4-BE49-F238E27FC236}">
                  <a16:creationId xmlns:a16="http://schemas.microsoft.com/office/drawing/2014/main" id="{340B9B6E-DDEB-4C20-ADBE-23A6DDB44335}"/>
                </a:ext>
              </a:extLst>
            </p:cNvPr>
            <p:cNvSpPr txBox="1"/>
            <p:nvPr/>
          </p:nvSpPr>
          <p:spPr>
            <a:xfrm>
              <a:off x="10886523" y="3986614"/>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74" name="LineLegend3" hidden="1">
              <a:extLst>
                <a:ext uri="{FF2B5EF4-FFF2-40B4-BE49-F238E27FC236}">
                  <a16:creationId xmlns:a16="http://schemas.microsoft.com/office/drawing/2014/main" id="{4268FAC4-AF56-4E03-BD82-AF47CD81A8C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5" name="LineLegend2" hidden="1">
              <a:extLst>
                <a:ext uri="{FF2B5EF4-FFF2-40B4-BE49-F238E27FC236}">
                  <a16:creationId xmlns:a16="http://schemas.microsoft.com/office/drawing/2014/main" id="{61CE115E-955E-457A-AE2E-22A7A2EAE6F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sp>
          <p:nvSpPr>
            <p:cNvPr id="176" name="LineLegend1" hidden="1">
              <a:extLst>
                <a:ext uri="{FF2B5EF4-FFF2-40B4-BE49-F238E27FC236}">
                  <a16:creationId xmlns:a16="http://schemas.microsoft.com/office/drawing/2014/main" id="{E438EDC9-01DE-4D71-8B74-6D68CAE49A6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latin typeface="HEINEKEN Core" panose="02000503050000020004" pitchFamily="2" charset="0"/>
                <a:ea typeface="+mn-ea"/>
                <a:sym typeface="HEINEKEN Core" panose="02000503050000020004" pitchFamily="2" charset="0"/>
              </a:endParaRPr>
            </a:p>
          </p:txBody>
        </p:sp>
      </p:grpSp>
      <p:grpSp>
        <p:nvGrpSpPr>
          <p:cNvPr id="177" name="LegendMoons" hidden="1">
            <a:extLst>
              <a:ext uri="{FF2B5EF4-FFF2-40B4-BE49-F238E27FC236}">
                <a16:creationId xmlns:a16="http://schemas.microsoft.com/office/drawing/2014/main" id="{15137132-ED4B-4867-8957-24C0E986E953}"/>
              </a:ext>
            </a:extLst>
          </p:cNvPr>
          <p:cNvGrpSpPr/>
          <p:nvPr/>
        </p:nvGrpSpPr>
        <p:grpSpPr>
          <a:xfrm>
            <a:off x="10688311" y="1145373"/>
            <a:ext cx="902464" cy="1731858"/>
            <a:chOff x="7723680" y="1702457"/>
            <a:chExt cx="902464" cy="1731859"/>
          </a:xfrm>
        </p:grpSpPr>
        <p:sp>
          <p:nvSpPr>
            <p:cNvPr id="178" name="Legend1" hidden="1">
              <a:extLst>
                <a:ext uri="{FF2B5EF4-FFF2-40B4-BE49-F238E27FC236}">
                  <a16:creationId xmlns:a16="http://schemas.microsoft.com/office/drawing/2014/main" id="{E3584F38-0358-4FC1-B87D-90F67002F849}"/>
                </a:ext>
              </a:extLst>
            </p:cNvPr>
            <p:cNvSpPr txBox="1"/>
            <p:nvPr/>
          </p:nvSpPr>
          <p:spPr>
            <a:xfrm>
              <a:off x="8076314" y="1709816"/>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86" name="Legend2" hidden="1">
              <a:extLst>
                <a:ext uri="{FF2B5EF4-FFF2-40B4-BE49-F238E27FC236}">
                  <a16:creationId xmlns:a16="http://schemas.microsoft.com/office/drawing/2014/main" id="{DE586444-F6C0-4C18-BBC5-E9468D62619F}"/>
                </a:ext>
              </a:extLst>
            </p:cNvPr>
            <p:cNvSpPr txBox="1"/>
            <p:nvPr/>
          </p:nvSpPr>
          <p:spPr>
            <a:xfrm>
              <a:off x="8076314" y="2085275"/>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8" name="Legend3" hidden="1">
              <a:extLst>
                <a:ext uri="{FF2B5EF4-FFF2-40B4-BE49-F238E27FC236}">
                  <a16:creationId xmlns:a16="http://schemas.microsoft.com/office/drawing/2014/main" id="{B102E38F-55DD-4E8E-B971-E87F45841FF8}"/>
                </a:ext>
              </a:extLst>
            </p:cNvPr>
            <p:cNvSpPr txBox="1"/>
            <p:nvPr/>
          </p:nvSpPr>
          <p:spPr>
            <a:xfrm>
              <a:off x="8076314" y="2460733"/>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199" name="Legend4" hidden="1">
              <a:extLst>
                <a:ext uri="{FF2B5EF4-FFF2-40B4-BE49-F238E27FC236}">
                  <a16:creationId xmlns:a16="http://schemas.microsoft.com/office/drawing/2014/main" id="{1446C037-674E-424F-ADE2-D4695E632F8C}"/>
                </a:ext>
              </a:extLst>
            </p:cNvPr>
            <p:cNvSpPr txBox="1"/>
            <p:nvPr/>
          </p:nvSpPr>
          <p:spPr>
            <a:xfrm>
              <a:off x="8076314" y="2836192"/>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00" name="Legend5" hidden="1">
              <a:extLst>
                <a:ext uri="{FF2B5EF4-FFF2-40B4-BE49-F238E27FC236}">
                  <a16:creationId xmlns:a16="http://schemas.microsoft.com/office/drawing/2014/main" id="{97FAE878-BAEA-4E19-BB51-A0564F671BBE}"/>
                </a:ext>
              </a:extLst>
            </p:cNvPr>
            <p:cNvSpPr txBox="1"/>
            <p:nvPr/>
          </p:nvSpPr>
          <p:spPr>
            <a:xfrm>
              <a:off x="8076314" y="3211654"/>
              <a:ext cx="549830"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nvGrpSpPr>
            <p:cNvPr id="201" name="MoonLegend1" hidden="1">
              <a:extLst>
                <a:ext uri="{FF2B5EF4-FFF2-40B4-BE49-F238E27FC236}">
                  <a16:creationId xmlns:a16="http://schemas.microsoft.com/office/drawing/2014/main" id="{E2A2A91B-C2ED-4638-8B27-9334BF573896}"/>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EE1A26C0-35D6-4BFE-A8AA-69A44DF3A8BC}"/>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5" name="Arc 214" hidden="1">
                <a:extLst>
                  <a:ext uri="{FF2B5EF4-FFF2-40B4-BE49-F238E27FC236}">
                    <a16:creationId xmlns:a16="http://schemas.microsoft.com/office/drawing/2014/main" id="{41EE2985-B32D-4006-953F-3D0B126E8740}"/>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2" name="MoonLegend2" hidden="1">
              <a:extLst>
                <a:ext uri="{FF2B5EF4-FFF2-40B4-BE49-F238E27FC236}">
                  <a16:creationId xmlns:a16="http://schemas.microsoft.com/office/drawing/2014/main" id="{90071E4B-34F5-4862-8888-1F3AB6665DB7}"/>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C726BB31-88A0-433B-BAF5-D3D1418F3B86}"/>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3" name="Arc 212" hidden="1">
                <a:extLst>
                  <a:ext uri="{FF2B5EF4-FFF2-40B4-BE49-F238E27FC236}">
                    <a16:creationId xmlns:a16="http://schemas.microsoft.com/office/drawing/2014/main" id="{57F0564B-58EB-45D2-9246-FB8D9745A9AD}"/>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3" name="MoonLegend3" hidden="1">
              <a:extLst>
                <a:ext uri="{FF2B5EF4-FFF2-40B4-BE49-F238E27FC236}">
                  <a16:creationId xmlns:a16="http://schemas.microsoft.com/office/drawing/2014/main" id="{56C51B3B-E4A2-4BB3-BCA2-267EDEF1E414}"/>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D2B86D6-0BA7-4201-9D0D-16D386BD8AC3}"/>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1" name="Arc 210" hidden="1">
                <a:extLst>
                  <a:ext uri="{FF2B5EF4-FFF2-40B4-BE49-F238E27FC236}">
                    <a16:creationId xmlns:a16="http://schemas.microsoft.com/office/drawing/2014/main" id="{B6288512-66D0-46B0-83C4-1DDA03B73797}"/>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4" name="MoonLegend4" hidden="1">
              <a:extLst>
                <a:ext uri="{FF2B5EF4-FFF2-40B4-BE49-F238E27FC236}">
                  <a16:creationId xmlns:a16="http://schemas.microsoft.com/office/drawing/2014/main" id="{67ECED74-EC96-4A1E-AD93-F2C7799AC46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1BDD5246-E52F-4212-B0E1-C7ACD197BB6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9" name="Arc 208" hidden="1">
                <a:extLst>
                  <a:ext uri="{FF2B5EF4-FFF2-40B4-BE49-F238E27FC236}">
                    <a16:creationId xmlns:a16="http://schemas.microsoft.com/office/drawing/2014/main" id="{CD0D0AD1-52CF-4EF5-A0F2-9B650767F910}"/>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nvGrpSpPr>
            <p:cNvPr id="205" name="MoonLegend5" hidden="1">
              <a:extLst>
                <a:ext uri="{FF2B5EF4-FFF2-40B4-BE49-F238E27FC236}">
                  <a16:creationId xmlns:a16="http://schemas.microsoft.com/office/drawing/2014/main" id="{D6F414F9-B4E5-4D13-88EA-0FACC4C57820}"/>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0779873-FBEF-4F26-917A-09E64030568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07" name="Arc 206" hidden="1">
                <a:extLst>
                  <a:ext uri="{FF2B5EF4-FFF2-40B4-BE49-F238E27FC236}">
                    <a16:creationId xmlns:a16="http://schemas.microsoft.com/office/drawing/2014/main" id="{B0C13CC8-7655-4C22-BC36-98C54EC496B9}"/>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HEINEKEN Core" panose="02000503050000020004" pitchFamily="2" charset="0"/>
                  <a:sym typeface="HEINEKEN Core" panose="02000503050000020004" pitchFamily="2" charset="0"/>
                </a:endParaRPr>
              </a:p>
            </p:txBody>
          </p:sp>
        </p:grpSp>
      </p:grpSp>
      <p:grpSp>
        <p:nvGrpSpPr>
          <p:cNvPr id="216" name="LegendBoxes" hidden="1">
            <a:extLst>
              <a:ext uri="{FF2B5EF4-FFF2-40B4-BE49-F238E27FC236}">
                <a16:creationId xmlns:a16="http://schemas.microsoft.com/office/drawing/2014/main" id="{D77E1C2E-9FDE-4A73-86C3-ECE8BDE52EC0}"/>
              </a:ext>
            </a:extLst>
          </p:cNvPr>
          <p:cNvGrpSpPr/>
          <p:nvPr/>
        </p:nvGrpSpPr>
        <p:grpSpPr>
          <a:xfrm>
            <a:off x="10714777" y="4381498"/>
            <a:ext cx="875977" cy="1717281"/>
            <a:chOff x="10652400" y="4322823"/>
            <a:chExt cx="875979" cy="1717282"/>
          </a:xfrm>
        </p:grpSpPr>
        <p:sp>
          <p:nvSpPr>
            <p:cNvPr id="217" name="RectangleLegend1" hidden="1">
              <a:extLst>
                <a:ext uri="{FF2B5EF4-FFF2-40B4-BE49-F238E27FC236}">
                  <a16:creationId xmlns:a16="http://schemas.microsoft.com/office/drawing/2014/main" id="{150FC312-FC41-49AE-8714-9B93CA3E00F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8" name="RectangleLegend2" hidden="1">
              <a:extLst>
                <a:ext uri="{FF2B5EF4-FFF2-40B4-BE49-F238E27FC236}">
                  <a16:creationId xmlns:a16="http://schemas.microsoft.com/office/drawing/2014/main" id="{67B79904-CF60-40E4-BE3F-CD355DD57EA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19" name="RectangleLegend3" hidden="1">
              <a:extLst>
                <a:ext uri="{FF2B5EF4-FFF2-40B4-BE49-F238E27FC236}">
                  <a16:creationId xmlns:a16="http://schemas.microsoft.com/office/drawing/2014/main" id="{CFCC7B73-F44C-4327-87C0-28C078F322A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0" name="RectangleLegend4" hidden="1">
              <a:extLst>
                <a:ext uri="{FF2B5EF4-FFF2-40B4-BE49-F238E27FC236}">
                  <a16:creationId xmlns:a16="http://schemas.microsoft.com/office/drawing/2014/main" id="{C312F557-47D5-4EDD-8EE2-9B176B28597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1" name="RectangleLegend5" hidden="1">
              <a:extLst>
                <a:ext uri="{FF2B5EF4-FFF2-40B4-BE49-F238E27FC236}">
                  <a16:creationId xmlns:a16="http://schemas.microsoft.com/office/drawing/2014/main" id="{19378EE9-AEC0-455A-9E02-E86FE27FCAE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HEINEKEN Core" panose="02000503050000020004" pitchFamily="2" charset="0"/>
                <a:sym typeface="HEINEKEN Core" panose="02000503050000020004" pitchFamily="2" charset="0"/>
              </a:endParaRPr>
            </a:p>
          </p:txBody>
        </p:sp>
        <p:sp>
          <p:nvSpPr>
            <p:cNvPr id="222" name="Legend1" hidden="1">
              <a:extLst>
                <a:ext uri="{FF2B5EF4-FFF2-40B4-BE49-F238E27FC236}">
                  <a16:creationId xmlns:a16="http://schemas.microsoft.com/office/drawing/2014/main" id="{B835265B-3ECF-496E-BD37-3AFC71AE13BC}"/>
                </a:ext>
              </a:extLst>
            </p:cNvPr>
            <p:cNvSpPr txBox="1"/>
            <p:nvPr/>
          </p:nvSpPr>
          <p:spPr>
            <a:xfrm>
              <a:off x="10978546" y="4322823"/>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3" name="Legend2" hidden="1">
              <a:extLst>
                <a:ext uri="{FF2B5EF4-FFF2-40B4-BE49-F238E27FC236}">
                  <a16:creationId xmlns:a16="http://schemas.microsoft.com/office/drawing/2014/main" id="{96847852-03B6-4D74-ABC1-18410C40013F}"/>
                </a:ext>
              </a:extLst>
            </p:cNvPr>
            <p:cNvSpPr txBox="1"/>
            <p:nvPr/>
          </p:nvSpPr>
          <p:spPr>
            <a:xfrm>
              <a:off x="10978548" y="4702322"/>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4" name="Legend3" hidden="1">
              <a:extLst>
                <a:ext uri="{FF2B5EF4-FFF2-40B4-BE49-F238E27FC236}">
                  <a16:creationId xmlns:a16="http://schemas.microsoft.com/office/drawing/2014/main" id="{194F896E-BE3D-40F3-AD62-0EA8BD5DAF92}"/>
                </a:ext>
              </a:extLst>
            </p:cNvPr>
            <p:cNvSpPr txBox="1"/>
            <p:nvPr/>
          </p:nvSpPr>
          <p:spPr>
            <a:xfrm>
              <a:off x="10978547" y="5081819"/>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5" name="Legend4" hidden="1">
              <a:extLst>
                <a:ext uri="{FF2B5EF4-FFF2-40B4-BE49-F238E27FC236}">
                  <a16:creationId xmlns:a16="http://schemas.microsoft.com/office/drawing/2014/main" id="{0BB6E76F-CDEC-439C-9CC3-7513BFFB4D83}"/>
                </a:ext>
              </a:extLst>
            </p:cNvPr>
            <p:cNvSpPr txBox="1"/>
            <p:nvPr/>
          </p:nvSpPr>
          <p:spPr>
            <a:xfrm>
              <a:off x="10978547" y="545324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sp>
          <p:nvSpPr>
            <p:cNvPr id="226" name="Legend5" hidden="1">
              <a:extLst>
                <a:ext uri="{FF2B5EF4-FFF2-40B4-BE49-F238E27FC236}">
                  <a16:creationId xmlns:a16="http://schemas.microsoft.com/office/drawing/2014/main" id="{53DB6311-6403-4710-B875-A7CE066978E1}"/>
                </a:ext>
              </a:extLst>
            </p:cNvPr>
            <p:cNvSpPr txBox="1"/>
            <p:nvPr/>
          </p:nvSpPr>
          <p:spPr>
            <a:xfrm>
              <a:off x="10978546" y="5824661"/>
              <a:ext cx="549831"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HEINEKEN Core" panose="02000503050000020004" pitchFamily="2" charset="0"/>
                  <a:sym typeface="HEINEKEN Core" panose="02000503050000020004" pitchFamily="2" charset="0"/>
                </a:rPr>
                <a:t>Legend</a:t>
              </a:r>
            </a:p>
          </p:txBody>
        </p: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577868"/>
            <a:ext cx="11082528" cy="461665"/>
          </a:xfrm>
          <a:prstGeom prst="rect">
            <a:avLst/>
          </a:prstGeom>
        </p:spPr>
        <p:txBody>
          <a:bodyPr vert="horz" wrap="square" lIns="0" tIns="0" rIns="0" bIns="0" rtlCol="0" anchor="b" anchorCtr="0">
            <a:spAutoFit/>
          </a:bodyPr>
          <a:lstStyle/>
          <a:p>
            <a:pPr lvl="0"/>
            <a:r>
              <a:rPr lang="nl-NL"/>
              <a:t>Klik om stijl te bewerken</a:t>
            </a:r>
            <a:endParaRPr lang="en-US"/>
          </a:p>
        </p:txBody>
      </p:sp>
      <p:sp>
        <p:nvSpPr>
          <p:cNvPr id="8" name="Slide Number Placeholder 1">
            <a:extLst>
              <a:ext uri="{FF2B5EF4-FFF2-40B4-BE49-F238E27FC236}">
                <a16:creationId xmlns:a16="http://schemas.microsoft.com/office/drawing/2014/main" id="{F5CF1886-FF91-6F0C-1FB5-A5C9055ADEF3}"/>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1"/>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531892533"/>
      </p:ext>
    </p:extLst>
  </p:cSld>
  <p:clrMap bg1="lt1" tx1="dk1" bg2="lt2" tx2="dk2" accent1="accent1" accent2="accent2" accent3="accent3" accent4="accent4" accent5="accent5" accent6="accent6" hlink="hlink" folHlink="folHlink"/>
  <p:sldLayoutIdLst>
    <p:sldLayoutId id="2147483742" r:id="rId1"/>
    <p:sldLayoutId id="2147483733" r:id="rId2"/>
    <p:sldLayoutId id="2147483734" r:id="rId3"/>
    <p:sldLayoutId id="2147483743" r:id="rId4"/>
    <p:sldLayoutId id="2147483757" r:id="rId5"/>
    <p:sldLayoutId id="2147483745" r:id="rId6"/>
    <p:sldLayoutId id="2147483764" r:id="rId7"/>
    <p:sldLayoutId id="2147483765" r:id="rId8"/>
    <p:sldLayoutId id="2147483748" r:id="rId9"/>
    <p:sldLayoutId id="2147483749" r:id="rId10"/>
    <p:sldLayoutId id="2147483750" r:id="rId11"/>
    <p:sldLayoutId id="2147483751" r:id="rId12"/>
    <p:sldLayoutId id="2147483752" r:id="rId13"/>
    <p:sldLayoutId id="2147483766" r:id="rId14"/>
    <p:sldLayoutId id="2147483767" r:id="rId15"/>
    <p:sldLayoutId id="2147483768" r:id="rId16"/>
    <p:sldLayoutId id="2147483769" r:id="rId17"/>
    <p:sldLayoutId id="2147483770" r:id="rId18"/>
    <p:sldLayoutId id="2147483753" r:id="rId19"/>
    <p:sldLayoutId id="2147483754" r:id="rId20"/>
    <p:sldLayoutId id="2147483739" r:id="rId21"/>
    <p:sldLayoutId id="2147483740" r:id="rId22"/>
  </p:sldLayoutIdLst>
  <p:hf hdr="0" ftr="0" dt="0"/>
  <p:txStyles>
    <p:titleStyle>
      <a:lvl1pPr algn="l" defTabSz="914377" rtl="0" eaLnBrk="1" latinLnBrk="0" hangingPunct="1">
        <a:lnSpc>
          <a:spcPct val="100000"/>
        </a:lnSpc>
        <a:spcBef>
          <a:spcPct val="0"/>
        </a:spcBef>
        <a:buNone/>
        <a:defRPr lang="en-US" sz="3000" b="1" kern="1200" spc="0" baseline="0" dirty="0">
          <a:ln w="6350" cap="flat">
            <a:noFill/>
            <a:miter lim="800000"/>
          </a:ln>
          <a:solidFill>
            <a:schemeClr val="tx1"/>
          </a:solidFill>
          <a:latin typeface="HEINEKEN Core" panose="02000503050000020004" pitchFamily="2" charset="0"/>
          <a:ea typeface="+mj-ea"/>
          <a:cs typeface="+mj-cs"/>
          <a:sym typeface="HEINEKEN Core" panose="02000503050000020004" pitchFamily="2" charset="0"/>
        </a:defRPr>
      </a:lvl1pPr>
    </p:titleStyle>
    <p:bodyStyle>
      <a:lvl1pPr marL="0" indent="0" algn="l" defTabSz="914377"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HEINEKEN Core" panose="02000503050000020004" pitchFamily="2" charset="0"/>
          <a:ea typeface="+mn-ea"/>
          <a:cs typeface="Arial" panose="020B0604020202020204" pitchFamily="34" charset="0"/>
          <a:sym typeface="HEINEKEN Core" panose="02000503050000020004" pitchFamily="2" charset="0"/>
        </a:defRPr>
      </a:lvl1pPr>
      <a:lvl2pPr marL="228594" indent="-228594"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2pPr>
      <a:lvl3pPr marL="438901" indent="-210307" algn="l" defTabSz="914377" rtl="0" eaLnBrk="1" latinLnBrk="0" hangingPunct="1">
        <a:lnSpc>
          <a:spcPct val="100000"/>
        </a:lnSpc>
        <a:spcBef>
          <a:spcPts val="0"/>
        </a:spcBef>
        <a:spcAft>
          <a:spcPts val="300"/>
        </a:spcAft>
        <a:buClrTx/>
        <a:buSzPct val="11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3pPr>
      <a:lvl4pPr marL="594345" indent="-155444"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4pPr>
      <a:lvl5pPr marL="813796" indent="-146300" algn="l" defTabSz="914377" rtl="0" eaLnBrk="1" latinLnBrk="0" hangingPunct="1">
        <a:lnSpc>
          <a:spcPct val="100000"/>
        </a:lnSpc>
        <a:spcBef>
          <a:spcPts val="0"/>
        </a:spcBef>
        <a:spcAft>
          <a:spcPts val="300"/>
        </a:spcAft>
        <a:buClrTx/>
        <a:buSzPct val="100000"/>
        <a:buFont typeface="HEINEKEN Core" panose="02000503050000020004" pitchFamily="50" charset="0"/>
        <a:buChar char="•"/>
        <a:defRPr lang="en-US" sz="1600" kern="1200" dirty="0">
          <a:solidFill>
            <a:schemeClr val="tx1"/>
          </a:solidFill>
          <a:latin typeface="HEINEKEN Core" panose="02000503050000020004" pitchFamily="2" charset="0"/>
          <a:ea typeface="+mn-ea"/>
          <a:cs typeface="+mn-cs"/>
          <a:sym typeface="HEINEKEN Core" panose="02000503050000020004" pitchFamily="2" charset="0"/>
        </a:defRPr>
      </a:lvl5pPr>
      <a:lvl6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4" userDrawn="1">
          <p15:clr>
            <a:srgbClr val="5ACBF0"/>
          </p15:clr>
        </p15:guide>
        <p15:guide id="3" orient="horz" pos="5216" userDrawn="1">
          <p15:clr>
            <a:srgbClr val="5ACBF0"/>
          </p15:clr>
        </p15:guide>
        <p15:guide id="4" orient="horz" pos="1433" userDrawn="1">
          <p15:clr>
            <a:srgbClr val="F26B43"/>
          </p15:clr>
        </p15:guide>
        <p15:guide id="5" pos="9772" userDrawn="1">
          <p15:clr>
            <a:srgbClr val="F26B43"/>
          </p15:clr>
        </p15:guide>
        <p15:guide id="6" pos="460" userDrawn="1">
          <p15:clr>
            <a:srgbClr val="F26B43"/>
          </p15:clr>
        </p15:guide>
        <p15:guide id="8" orient="horz" pos="541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09DD8FB4-21C9-3FFC-C0CF-1916E3D133F9}"/>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467" y="0"/>
            <a:ext cx="12187067" cy="6858000"/>
          </a:xfrm>
          <a:prstGeom prst="rect">
            <a:avLst/>
          </a:prstGeom>
        </p:spPr>
      </p:pic>
      <p:pic>
        <p:nvPicPr>
          <p:cNvPr id="5" name="Picture 1">
            <a:extLst>
              <a:ext uri="{FF2B5EF4-FFF2-40B4-BE49-F238E27FC236}">
                <a16:creationId xmlns:a16="http://schemas.microsoft.com/office/drawing/2014/main" id="{7A353CA3-24E1-C76B-C030-89F244AB0A62}"/>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2468" y="0"/>
            <a:ext cx="12187065" cy="6858000"/>
          </a:xfrm>
          <a:prstGeom prst="rect">
            <a:avLst/>
          </a:prstGeom>
        </p:spPr>
      </p:pic>
      <p:sp>
        <p:nvSpPr>
          <p:cNvPr id="2" name="Tijdelijke aanduiding voor titel 1">
            <a:extLst>
              <a:ext uri="{FF2B5EF4-FFF2-40B4-BE49-F238E27FC236}">
                <a16:creationId xmlns:a16="http://schemas.microsoft.com/office/drawing/2014/main" id="{38D20194-7D62-4DB6-9E55-8A4B043FA75E}"/>
              </a:ext>
            </a:extLst>
          </p:cNvPr>
          <p:cNvSpPr>
            <a:spLocks noGrp="1"/>
          </p:cNvSpPr>
          <p:nvPr>
            <p:ph type="title"/>
          </p:nvPr>
        </p:nvSpPr>
        <p:spPr>
          <a:xfrm>
            <a:off x="453449" y="499878"/>
            <a:ext cx="11243248" cy="415498"/>
          </a:xfrm>
          <a:prstGeom prst="rect">
            <a:avLst/>
          </a:prstGeom>
        </p:spPr>
        <p:txBody>
          <a:bodyPr vert="horz" wrap="square"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E1007085-F19A-43EB-A449-BD59E8123AA3}"/>
              </a:ext>
            </a:extLst>
          </p:cNvPr>
          <p:cNvSpPr>
            <a:spLocks noGrp="1"/>
          </p:cNvSpPr>
          <p:nvPr>
            <p:ph type="body" idx="1"/>
          </p:nvPr>
        </p:nvSpPr>
        <p:spPr>
          <a:xfrm>
            <a:off x="453449" y="1499949"/>
            <a:ext cx="11243248" cy="5358052"/>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Slide Number Placeholder 1">
            <a:extLst>
              <a:ext uri="{FF2B5EF4-FFF2-40B4-BE49-F238E27FC236}">
                <a16:creationId xmlns:a16="http://schemas.microsoft.com/office/drawing/2014/main" id="{088F348A-4EEB-0D3B-9015-719A12F71A6D}"/>
              </a:ext>
            </a:extLst>
          </p:cNvPr>
          <p:cNvSpPr>
            <a:spLocks noGrp="1"/>
          </p:cNvSpPr>
          <p:nvPr>
            <p:ph type="sldNum" sz="quarter" idx="4"/>
          </p:nvPr>
        </p:nvSpPr>
        <p:spPr>
          <a:xfrm>
            <a:off x="9282044" y="6356351"/>
            <a:ext cx="2743200" cy="366183"/>
          </a:xfrm>
          <a:prstGeom prst="rect">
            <a:avLst/>
          </a:prstGeom>
        </p:spPr>
        <p:txBody>
          <a:bodyPr vert="horz" lIns="91440" tIns="45720" rIns="0" bIns="45720" rtlCol="0" anchor="ctr"/>
          <a:lstStyle>
            <a:lvl1pPr algn="r">
              <a:defRPr sz="1067" b="1" i="0">
                <a:solidFill>
                  <a:schemeClr val="tx2"/>
                </a:solidFill>
                <a:latin typeface="HEINEKEN Core" panose="02000503050000020004" pitchFamily="2" charset="0"/>
              </a:defRPr>
            </a:lvl1pPr>
          </a:lstStyle>
          <a:p>
            <a:fld id="{F7D798F7-A0AD-A14E-8CE9-57071D50F00B}" type="slidenum">
              <a:rPr lang="de-DE"/>
              <a:pPr/>
              <a:t>‹#›</a:t>
            </a:fld>
            <a:endParaRPr lang="de-DE"/>
          </a:p>
        </p:txBody>
      </p:sp>
    </p:spTree>
    <p:extLst>
      <p:ext uri="{BB962C8B-B14F-4D97-AF65-F5344CB8AC3E}">
        <p14:creationId xmlns:p14="http://schemas.microsoft.com/office/powerpoint/2010/main" val="91137601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Lst>
  <p:hf hdr="0" ftr="0" dt="0"/>
  <p:txStyles>
    <p:titleStyle>
      <a:lvl1pPr algn="l" defTabSz="914377" rtl="0" eaLnBrk="1" latinLnBrk="0" hangingPunct="1">
        <a:lnSpc>
          <a:spcPct val="90000"/>
        </a:lnSpc>
        <a:spcBef>
          <a:spcPct val="0"/>
        </a:spcBef>
        <a:buNone/>
        <a:defRPr sz="3000" b="1" kern="1200">
          <a:solidFill>
            <a:schemeClr val="tx2"/>
          </a:solidFill>
          <a:latin typeface="HEINEKEN Core" panose="02000503050000020004" pitchFamily="2" charset="0"/>
          <a:ea typeface="+mj-ea"/>
          <a:cs typeface="+mj-cs"/>
        </a:defRPr>
      </a:lvl1pPr>
    </p:titleStyle>
    <p:bodyStyle>
      <a:lvl1pPr marL="0" indent="0" algn="l" defTabSz="914377" rtl="0" eaLnBrk="1" latinLnBrk="0" hangingPunct="1">
        <a:lnSpc>
          <a:spcPct val="90000"/>
        </a:lnSpc>
        <a:spcBef>
          <a:spcPts val="0"/>
        </a:spcBef>
        <a:spcAft>
          <a:spcPts val="800"/>
        </a:spcAft>
        <a:buFont typeface="Arial" panose="020B0604020202020204" pitchFamily="34" charset="0"/>
        <a:buNone/>
        <a:defRPr sz="1800" kern="1200">
          <a:solidFill>
            <a:schemeClr val="tx2"/>
          </a:solidFill>
          <a:latin typeface="HEINEKEN Core" panose="02000503050000020004" pitchFamily="2" charset="0"/>
          <a:ea typeface="+mn-ea"/>
          <a:cs typeface="+mn-cs"/>
        </a:defRPr>
      </a:lvl1pPr>
      <a:lvl2pPr marL="190495"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2pPr>
      <a:lvl3pPr marL="360354"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3pPr>
      <a:lvl4pPr marL="538149" indent="-177796"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4pPr>
      <a:lvl5pPr marL="714357" indent="-176209" algn="l" defTabSz="914377" rtl="0" eaLnBrk="1" latinLnBrk="0" hangingPunct="1">
        <a:lnSpc>
          <a:spcPct val="90000"/>
        </a:lnSpc>
        <a:spcBef>
          <a:spcPts val="0"/>
        </a:spcBef>
        <a:spcAft>
          <a:spcPts val="800"/>
        </a:spcAft>
        <a:buFont typeface="Wingdings" panose="05000000000000000000" pitchFamily="2" charset="2"/>
        <a:buChar char="§"/>
        <a:tabLst/>
        <a:defRPr sz="1800" kern="1200">
          <a:solidFill>
            <a:schemeClr val="tx2"/>
          </a:solidFill>
          <a:latin typeface="HEINEKEN Core" panose="02000503050000020004"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3" Type="http://schemas.microsoft.com/office/2007/relationships/hdphoto" Target="../media/hdphoto3.wdp"/><Relationship Id="rId7" Type="http://schemas.microsoft.com/office/2007/relationships/hdphoto" Target="../media/hdphoto5.wdp"/><Relationship Id="rId2" Type="http://schemas.openxmlformats.org/officeDocument/2006/relationships/image" Target="../media/image48.png"/><Relationship Id="rId1" Type="http://schemas.openxmlformats.org/officeDocument/2006/relationships/slideLayout" Target="../slideLayouts/slideLayout17.xml"/><Relationship Id="rId6" Type="http://schemas.openxmlformats.org/officeDocument/2006/relationships/image" Target="../media/image50.png"/><Relationship Id="rId5" Type="http://schemas.microsoft.com/office/2007/relationships/hdphoto" Target="../media/hdphoto4.wdp"/><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oleObject" Target="../embeddings/oleObject22.bin"/><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slideLayout" Target="../slideLayouts/slideLayout1.xml"/><Relationship Id="rId2" Type="http://schemas.openxmlformats.org/officeDocument/2006/relationships/tags" Target="../tags/tag130.xml"/><Relationship Id="rId16" Type="http://schemas.openxmlformats.org/officeDocument/2006/relationships/image" Target="../media/image52.png"/><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image" Target="../media/image29.png"/><Relationship Id="rId10" Type="http://schemas.openxmlformats.org/officeDocument/2006/relationships/tags" Target="../tags/tag138.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image" Target="../media/image25.emf"/></Relationships>
</file>

<file path=ppt/slides/_rels/slide1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oleObject" Target="../embeddings/oleObject22.bin"/><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svg"/><Relationship Id="rId2" Type="http://schemas.openxmlformats.org/officeDocument/2006/relationships/slideLayout" Target="../slideLayouts/slideLayout1.xml"/><Relationship Id="rId16" Type="http://schemas.openxmlformats.org/officeDocument/2006/relationships/image" Target="../media/image63.png"/><Relationship Id="rId1" Type="http://schemas.openxmlformats.org/officeDocument/2006/relationships/tags" Target="../tags/tag140.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29.png"/><Relationship Id="rId1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image" Target="../media/image25.emf"/><Relationship Id="rId9" Type="http://schemas.openxmlformats.org/officeDocument/2006/relationships/image" Target="../media/image56.png"/><Relationship Id="rId14" Type="http://schemas.openxmlformats.org/officeDocument/2006/relationships/image" Target="../media/image61.png"/></Relationships>
</file>

<file path=ppt/slides/_rels/slide1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oleObject" Target="../embeddings/oleObject22.bin"/><Relationship Id="rId7" Type="http://schemas.openxmlformats.org/officeDocument/2006/relationships/image" Target="../media/image65.png"/><Relationship Id="rId12" Type="http://schemas.openxmlformats.org/officeDocument/2006/relationships/image" Target="../media/image66.png"/><Relationship Id="rId2" Type="http://schemas.openxmlformats.org/officeDocument/2006/relationships/slideLayout" Target="../slideLayouts/slideLayout1.xml"/><Relationship Id="rId1" Type="http://schemas.openxmlformats.org/officeDocument/2006/relationships/tags" Target="../tags/tag141.xml"/><Relationship Id="rId6" Type="http://schemas.openxmlformats.org/officeDocument/2006/relationships/image" Target="../media/image53.png"/><Relationship Id="rId11" Type="http://schemas.openxmlformats.org/officeDocument/2006/relationships/image" Target="../media/image62.png"/><Relationship Id="rId5" Type="http://schemas.openxmlformats.org/officeDocument/2006/relationships/image" Target="../media/image29.png"/><Relationship Id="rId10" Type="http://schemas.openxmlformats.org/officeDocument/2006/relationships/image" Target="../media/image61.png"/><Relationship Id="rId4" Type="http://schemas.openxmlformats.org/officeDocument/2006/relationships/image" Target="../media/image25.emf"/><Relationship Id="rId9" Type="http://schemas.openxmlformats.org/officeDocument/2006/relationships/image" Target="../media/image60.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142.xml"/><Relationship Id="rId5" Type="http://schemas.openxmlformats.org/officeDocument/2006/relationships/image" Target="../media/image29.png"/><Relationship Id="rId4" Type="http://schemas.openxmlformats.org/officeDocument/2006/relationships/image" Target="../media/image25.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0.xml"/><Relationship Id="rId1" Type="http://schemas.openxmlformats.org/officeDocument/2006/relationships/tags" Target="../tags/tag128.xml"/><Relationship Id="rId5" Type="http://schemas.openxmlformats.org/officeDocument/2006/relationships/image" Target="../media/image31.png"/><Relationship Id="rId4" Type="http://schemas.openxmlformats.org/officeDocument/2006/relationships/image" Target="../media/image30.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143.xml"/><Relationship Id="rId5" Type="http://schemas.openxmlformats.org/officeDocument/2006/relationships/image" Target="../media/image29.png"/><Relationship Id="rId4" Type="http://schemas.openxmlformats.org/officeDocument/2006/relationships/image" Target="../media/image25.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144.xml"/><Relationship Id="rId5" Type="http://schemas.openxmlformats.org/officeDocument/2006/relationships/image" Target="../media/image29.png"/><Relationship Id="rId4" Type="http://schemas.openxmlformats.org/officeDocument/2006/relationships/image" Target="../media/image25.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5.png"/><Relationship Id="rId18" Type="http://schemas.openxmlformats.org/officeDocument/2006/relationships/image" Target="../media/image80.png"/><Relationship Id="rId3" Type="http://schemas.openxmlformats.org/officeDocument/2006/relationships/image" Target="../media/image29.png"/><Relationship Id="rId7" Type="http://schemas.openxmlformats.org/officeDocument/2006/relationships/image" Target="../media/image70.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5.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1.xml"/><Relationship Id="rId6" Type="http://schemas.openxmlformats.org/officeDocument/2006/relationships/image" Target="../media/image69.png"/><Relationship Id="rId11" Type="http://schemas.openxmlformats.org/officeDocument/2006/relationships/image" Target="../media/image73.png"/><Relationship Id="rId5" Type="http://schemas.openxmlformats.org/officeDocument/2006/relationships/image" Target="../media/image68.png"/><Relationship Id="rId15" Type="http://schemas.openxmlformats.org/officeDocument/2006/relationships/image" Target="../media/image77.png"/><Relationship Id="rId10" Type="http://schemas.openxmlformats.org/officeDocument/2006/relationships/image" Target="../media/image72.png"/><Relationship Id="rId19" Type="http://schemas.openxmlformats.org/officeDocument/2006/relationships/image" Target="../media/image81.png"/><Relationship Id="rId4" Type="http://schemas.openxmlformats.org/officeDocument/2006/relationships/image" Target="../media/image67.png"/><Relationship Id="rId9" Type="http://schemas.openxmlformats.org/officeDocument/2006/relationships/image" Target="../media/image71.png"/><Relationship Id="rId14" Type="http://schemas.openxmlformats.org/officeDocument/2006/relationships/image" Target="../media/image76.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2.png"/><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76893" y="1979720"/>
            <a:ext cx="4486963" cy="1913303"/>
          </a:xfrm>
        </p:spPr>
        <p:txBody>
          <a:bodyPr/>
          <a:lstStyle/>
          <a:p>
            <a:r>
              <a:rPr lang="en-US" dirty="0"/>
              <a:t>TPO &amp; Customer Targeting Recommendation</a:t>
            </a:r>
            <a:endParaRPr lang="nl-NL" dirty="0"/>
          </a:p>
        </p:txBody>
      </p:sp>
      <p:sp>
        <p:nvSpPr>
          <p:cNvPr id="5" name="Tijdelijke aanduiding voor tekst 4"/>
          <p:cNvSpPr>
            <a:spLocks noGrp="1"/>
          </p:cNvSpPr>
          <p:nvPr>
            <p:ph type="body" sz="quarter" idx="63"/>
          </p:nvPr>
        </p:nvSpPr>
        <p:spPr>
          <a:xfrm>
            <a:off x="376685" y="3949246"/>
            <a:ext cx="4486963" cy="305777"/>
          </a:xfrm>
        </p:spPr>
        <p:txBody>
          <a:bodyPr>
            <a:noAutofit/>
          </a:bodyPr>
          <a:lstStyle/>
          <a:p>
            <a:r>
              <a:rPr lang="nl-NL" sz="1800" b="1" spc="300" dirty="0"/>
              <a:t>Data &amp; Analytic, D&amp;T</a:t>
            </a:r>
          </a:p>
        </p:txBody>
      </p:sp>
      <p:pic>
        <p:nvPicPr>
          <p:cNvPr id="2" name="Picture 1" descr="Heineken logo download in SVG vector format or in PNG format">
            <a:extLst>
              <a:ext uri="{FF2B5EF4-FFF2-40B4-BE49-F238E27FC236}">
                <a16:creationId xmlns:a16="http://schemas.microsoft.com/office/drawing/2014/main" id="{30E6E209-DC34-AF65-C18C-E01E43391DA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6667" b="28889"/>
          <a:stretch/>
        </p:blipFill>
        <p:spPr bwMode="auto">
          <a:xfrm>
            <a:off x="219649" y="339737"/>
            <a:ext cx="2697480" cy="674370"/>
          </a:xfrm>
          <a:prstGeom prst="rect">
            <a:avLst/>
          </a:prstGeom>
          <a:noFill/>
          <a:ln>
            <a:noFill/>
          </a:ln>
          <a:extLst>
            <a:ext uri="{53640926-AAD7-44D8-BBD7-CCE9431645EC}">
              <a14:shadowObscured xmlns:a14="http://schemas.microsoft.com/office/drawing/2010/main"/>
            </a:ext>
          </a:extLst>
        </p:spPr>
      </p:pic>
      <p:sp>
        <p:nvSpPr>
          <p:cNvPr id="3" name="Tijdelijke aanduiding voor tekst 4">
            <a:extLst>
              <a:ext uri="{FF2B5EF4-FFF2-40B4-BE49-F238E27FC236}">
                <a16:creationId xmlns:a16="http://schemas.microsoft.com/office/drawing/2014/main" id="{797C5129-2A4D-518E-21EC-D245A4EF83CA}"/>
              </a:ext>
            </a:extLst>
          </p:cNvPr>
          <p:cNvSpPr txBox="1">
            <a:spLocks/>
          </p:cNvSpPr>
          <p:nvPr/>
        </p:nvSpPr>
        <p:spPr>
          <a:xfrm>
            <a:off x="376685" y="4370431"/>
            <a:ext cx="4486963" cy="305777"/>
          </a:xfrm>
          <a:prstGeom prst="rect">
            <a:avLst/>
          </a:prstGeom>
        </p:spPr>
        <p:txBody>
          <a:bodyPr vert="horz" lIns="91440" tIns="45720" rIns="91440" bIns="45720" rtlCol="0">
            <a:normAutofit fontScale="70000" lnSpcReduction="20000"/>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2000" b="0" i="0" u="none" strike="noStrike" cap="none" spc="400" baseline="0">
                <a:solidFill>
                  <a:schemeClr val="bg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nl-NL" b="1" spc="300" dirty="0"/>
              <a:t>Votana SREY, Data Steward</a:t>
            </a:r>
          </a:p>
        </p:txBody>
      </p:sp>
      <p:pic>
        <p:nvPicPr>
          <p:cNvPr id="6" name="Picture 5">
            <a:extLst>
              <a:ext uri="{FF2B5EF4-FFF2-40B4-BE49-F238E27FC236}">
                <a16:creationId xmlns:a16="http://schemas.microsoft.com/office/drawing/2014/main" id="{1D9532C8-8BDA-96B5-A30D-047D88B9D09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649" y="5355449"/>
            <a:ext cx="3004318" cy="1502552"/>
          </a:xfrm>
          <a:prstGeom prst="rect">
            <a:avLst/>
          </a:prstGeom>
          <a:noFill/>
          <a:ln>
            <a:noFill/>
          </a:ln>
        </p:spPr>
      </p:pic>
    </p:spTree>
    <p:extLst>
      <p:ext uri="{BB962C8B-B14F-4D97-AF65-F5344CB8AC3E}">
        <p14:creationId xmlns:p14="http://schemas.microsoft.com/office/powerpoint/2010/main" val="11497702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HYPOTHESIS &amp; RQ</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226286"/>
            <a:ext cx="10560396" cy="55547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o apply analytics model in order to uncover any hidden gaps in master data and trade term is the selected case for this study. We are currently having the hypothesis to test it out: </a:t>
            </a:r>
          </a:p>
          <a:p>
            <a:pPr algn="l"/>
            <a:endParaRPr lang="en-US" sz="1800" dirty="0">
              <a:latin typeface="HEINEKEN Core" panose="02000503050000020004" pitchFamily="2"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Null Hypothesis (H0): Improving the trade program and customer targeting will NOT increase the sale volume and profit of revenue company KPI.</a:t>
            </a:r>
            <a:endParaRPr lang="en-US" sz="1800" dirty="0">
              <a:latin typeface="Calibri" panose="020F0502020204030204" pitchFamily="34" charset="0"/>
              <a:ea typeface="Calibri" panose="020F0502020204030204" pitchFamily="34" charset="0"/>
              <a:cs typeface="Arial" panose="020B0604020202020204" pitchFamily="34" charset="0"/>
            </a:endParaRPr>
          </a:p>
          <a:p>
            <a:pPr marL="285750" indent="-285750" algn="l">
              <a:buFont typeface="Arial" panose="020B0604020202020204" pitchFamily="34" charset="0"/>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Alternative Hypothesis (H1/HA): Improving the trade program and customer targeting will increase the sale volume and profit of revenue company KPI. </a:t>
            </a:r>
          </a:p>
          <a:p>
            <a:pPr marL="285750" indent="-285750" algn="l">
              <a:buFont typeface="Arial" panose="020B0604020202020204" pitchFamily="34" charset="0"/>
              <a:buChar char="•"/>
            </a:pPr>
            <a:endParaRPr lang="en-US" sz="1800" dirty="0">
              <a:latin typeface="HEINEKEN Core" panose="02000503050000020004" pitchFamily="2" charset="0"/>
              <a:ea typeface="Calibri" panose="020F0502020204030204" pitchFamily="34" charset="0"/>
              <a:cs typeface="Arial" panose="020B0604020202020204" pitchFamily="34" charset="0"/>
            </a:endParaRPr>
          </a:p>
          <a:p>
            <a:pPr algn="l"/>
            <a:r>
              <a:rPr lang="en-US" sz="2000" b="1" dirty="0">
                <a:latin typeface="HEINEKEN Core" panose="02000503050000020004" pitchFamily="2" charset="0"/>
                <a:ea typeface="Calibri" panose="020F0502020204030204" pitchFamily="34" charset="0"/>
                <a:cs typeface="Arial" panose="020B0604020202020204" pitchFamily="34" charset="0"/>
              </a:rPr>
              <a:t>Research Questions </a:t>
            </a:r>
          </a:p>
          <a:p>
            <a:pPr algn="l"/>
            <a:endParaRPr lang="en-US" sz="1800" dirty="0">
              <a:latin typeface="HEINEKEN Core" panose="02000503050000020004" pitchFamily="2"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s the current process of doing trade program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at are the metrics to analyze on trade program performance and correlation between customer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a:t>
            </a: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How can master data maintain to support the trade program targeting?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Which is the best model to implement with customer targeting recommendation for trade mark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Tree>
    <p:extLst>
      <p:ext uri="{BB962C8B-B14F-4D97-AF65-F5344CB8AC3E}">
        <p14:creationId xmlns:p14="http://schemas.microsoft.com/office/powerpoint/2010/main" val="256758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53BA3-DCD5-B472-2122-FA188493B6F0}"/>
              </a:ext>
            </a:extLst>
          </p:cNvPr>
          <p:cNvSpPr>
            <a:spLocks noGrp="1"/>
          </p:cNvSpPr>
          <p:nvPr>
            <p:ph type="title"/>
          </p:nvPr>
        </p:nvSpPr>
        <p:spPr>
          <a:xfrm>
            <a:off x="5422298" y="1748538"/>
            <a:ext cx="6100917" cy="3714497"/>
          </a:xfrm>
        </p:spPr>
        <p:txBody>
          <a:bodyPr/>
          <a:lstStyle/>
          <a:p>
            <a:r>
              <a:rPr lang="de-DE" sz="6000" dirty="0"/>
              <a:t>METHODOLOGY</a:t>
            </a:r>
          </a:p>
        </p:txBody>
      </p:sp>
      <p:sp>
        <p:nvSpPr>
          <p:cNvPr id="5" name="Slide Number Placeholder 4">
            <a:extLst>
              <a:ext uri="{FF2B5EF4-FFF2-40B4-BE49-F238E27FC236}">
                <a16:creationId xmlns:a16="http://schemas.microsoft.com/office/drawing/2014/main" id="{B4CBB7F4-747E-3DE9-BC68-0A583947D7C2}"/>
              </a:ext>
            </a:extLst>
          </p:cNvPr>
          <p:cNvSpPr>
            <a:spLocks noGrp="1"/>
          </p:cNvSpPr>
          <p:nvPr>
            <p:ph type="sldNum" sz="quarter" idx="4"/>
          </p:nvPr>
        </p:nvSpPr>
        <p:spPr/>
        <p:txBody>
          <a:bodyPr/>
          <a:lstStyle/>
          <a:p>
            <a:fld id="{F7D798F7-A0AD-A14E-8CE9-57071D50F00B}" type="slidenum">
              <a:rPr lang="de-DE"/>
              <a:pPr/>
              <a:t>11</a:t>
            </a:fld>
            <a:endParaRPr lang="de-DE"/>
          </a:p>
        </p:txBody>
      </p:sp>
      <p:pic>
        <p:nvPicPr>
          <p:cNvPr id="8" name="Picture Placeholder 7" descr="A picture containing text, bottle, refrigerator, indoor&#10;&#10;Description automatically generated">
            <a:extLst>
              <a:ext uri="{FF2B5EF4-FFF2-40B4-BE49-F238E27FC236}">
                <a16:creationId xmlns:a16="http://schemas.microsoft.com/office/drawing/2014/main" id="{6A0D291F-5D16-CA9F-B012-B3AB068796C9}"/>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25349" r="25349"/>
          <a:stretch>
            <a:fillRect/>
          </a:stretch>
        </p:blipFill>
        <p:spPr/>
      </p:pic>
    </p:spTree>
    <p:extLst>
      <p:ext uri="{BB962C8B-B14F-4D97-AF65-F5344CB8AC3E}">
        <p14:creationId xmlns:p14="http://schemas.microsoft.com/office/powerpoint/2010/main" val="158846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t>METHODOLOGY</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95968" cy="474848"/>
          </a:xfrm>
        </p:spPr>
        <p:txBody>
          <a:bodyPr/>
          <a:lstStyle/>
          <a:p>
            <a:r>
              <a:rPr lang="en-US" sz="1200" spc="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 this part, we are going to extract the data from the data warehouse of outlet transaction data to see the performance and we are going to explore the data in order to gain more insights from the data and also the trade marketing insight analysis as well. </a:t>
            </a:r>
            <a:endParaRPr lang="en-US" sz="1200" spc="0" dirty="0"/>
          </a:p>
        </p:txBody>
      </p:sp>
      <p:sp>
        <p:nvSpPr>
          <p:cNvPr id="15" name="Text Placeholder 14">
            <a:extLst>
              <a:ext uri="{FF2B5EF4-FFF2-40B4-BE49-F238E27FC236}">
                <a16:creationId xmlns:a16="http://schemas.microsoft.com/office/drawing/2014/main" id="{92F587AD-A3EE-D917-53B7-17C8A5BDD5BF}"/>
              </a:ext>
            </a:extLst>
          </p:cNvPr>
          <p:cNvSpPr>
            <a:spLocks noGrp="1"/>
          </p:cNvSpPr>
          <p:nvPr>
            <p:ph type="body" sz="quarter" idx="75"/>
          </p:nvPr>
        </p:nvSpPr>
        <p:spPr>
          <a:xfrm>
            <a:off x="666487" y="5151266"/>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rade Program Performance Analysis </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17" name="Text Placeholder 16">
            <a:extLst>
              <a:ext uri="{FF2B5EF4-FFF2-40B4-BE49-F238E27FC236}">
                <a16:creationId xmlns:a16="http://schemas.microsoft.com/office/drawing/2014/main" id="{87573F92-9524-3F57-CDBA-C653E60852AB}"/>
              </a:ext>
            </a:extLst>
          </p:cNvPr>
          <p:cNvSpPr>
            <a:spLocks noGrp="1"/>
          </p:cNvSpPr>
          <p:nvPr>
            <p:ph type="body" sz="quarter" idx="77"/>
          </p:nvPr>
        </p:nvSpPr>
        <p:spPr>
          <a:xfrm>
            <a:off x="3367656" y="5109143"/>
            <a:ext cx="2472160" cy="443947"/>
          </a:xfrm>
        </p:spPr>
        <p:txBody>
          <a:bodyPr/>
          <a:lstStyle/>
          <a:p>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Customer Performance Analysis </a:t>
            </a:r>
            <a:endParaRPr lang="en-US" dirty="0"/>
          </a:p>
        </p:txBody>
      </p:sp>
      <p:pic>
        <p:nvPicPr>
          <p:cNvPr id="20" name="Picture 19">
            <a:extLst>
              <a:ext uri="{FF2B5EF4-FFF2-40B4-BE49-F238E27FC236}">
                <a16:creationId xmlns:a16="http://schemas.microsoft.com/office/drawing/2014/main" id="{C2E287C0-9C17-A633-7762-5AAA37B8A3CF}"/>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0" b="98742" l="7752" r="88372"/>
                    </a14:imgEffect>
                  </a14:imgLayer>
                </a14:imgProps>
              </a:ext>
            </a:extLst>
          </a:blip>
          <a:stretch>
            <a:fillRect/>
          </a:stretch>
        </p:blipFill>
        <p:spPr>
          <a:xfrm>
            <a:off x="1499390" y="2794682"/>
            <a:ext cx="678234" cy="1671924"/>
          </a:xfrm>
          <a:prstGeom prst="rect">
            <a:avLst/>
          </a:prstGeom>
        </p:spPr>
      </p:pic>
      <p:sp>
        <p:nvSpPr>
          <p:cNvPr id="21" name="Rectangle 20">
            <a:extLst>
              <a:ext uri="{FF2B5EF4-FFF2-40B4-BE49-F238E27FC236}">
                <a16:creationId xmlns:a16="http://schemas.microsoft.com/office/drawing/2014/main" id="{E0064FD7-EFE6-C6D5-7CFB-B42CB9518282}"/>
              </a:ext>
            </a:extLst>
          </p:cNvPr>
          <p:cNvSpPr/>
          <p:nvPr/>
        </p:nvSpPr>
        <p:spPr>
          <a:xfrm>
            <a:off x="550943"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AFF26B3-8221-45AE-D0D3-2981F0010D3A}"/>
              </a:ext>
            </a:extLst>
          </p:cNvPr>
          <p:cNvSpPr/>
          <p:nvPr/>
        </p:nvSpPr>
        <p:spPr>
          <a:xfrm>
            <a:off x="32983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BF27654-9ADF-1F7E-E4A9-76331A9F5C5B}"/>
              </a:ext>
            </a:extLst>
          </p:cNvPr>
          <p:cNvSpPr/>
          <p:nvPr/>
        </p:nvSpPr>
        <p:spPr>
          <a:xfrm>
            <a:off x="6045669"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00ABE27D-082E-3EFA-316F-0DF7D0BE568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0" b="97464" l="0" r="98577">
                        <a14:foregroundMark x1="46619" y1="51087" x2="46619" y2="51087"/>
                      </a14:backgroundRemoval>
                    </a14:imgEffect>
                  </a14:imgLayer>
                </a14:imgProps>
              </a:ext>
            </a:extLst>
          </a:blip>
          <a:stretch>
            <a:fillRect/>
          </a:stretch>
        </p:blipFill>
        <p:spPr>
          <a:xfrm>
            <a:off x="3775296" y="2791878"/>
            <a:ext cx="1705067" cy="1674728"/>
          </a:xfrm>
          <a:prstGeom prst="rect">
            <a:avLst/>
          </a:prstGeom>
        </p:spPr>
      </p:pic>
      <p:pic>
        <p:nvPicPr>
          <p:cNvPr id="29" name="Picture 28">
            <a:extLst>
              <a:ext uri="{FF2B5EF4-FFF2-40B4-BE49-F238E27FC236}">
                <a16:creationId xmlns:a16="http://schemas.microsoft.com/office/drawing/2014/main" id="{C9F31FDD-045C-4C57-9C84-D9D27A286CDE}"/>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957" b="89177" l="439" r="96053"/>
                    </a14:imgEffect>
                  </a14:imgLayer>
                </a14:imgProps>
              </a:ext>
            </a:extLst>
          </a:blip>
          <a:stretch>
            <a:fillRect/>
          </a:stretch>
        </p:blipFill>
        <p:spPr>
          <a:xfrm>
            <a:off x="6407983" y="2791878"/>
            <a:ext cx="1699381" cy="1721742"/>
          </a:xfrm>
          <a:prstGeom prst="rect">
            <a:avLst/>
          </a:prstGeom>
        </p:spPr>
      </p:pic>
      <p:sp>
        <p:nvSpPr>
          <p:cNvPr id="34" name="Text Placeholder 16">
            <a:extLst>
              <a:ext uri="{FF2B5EF4-FFF2-40B4-BE49-F238E27FC236}">
                <a16:creationId xmlns:a16="http://schemas.microsoft.com/office/drawing/2014/main" id="{4678DD2C-27D2-03AA-EDCF-02C5740F1239}"/>
              </a:ext>
            </a:extLst>
          </p:cNvPr>
          <p:cNvSpPr txBox="1">
            <a:spLocks/>
          </p:cNvSpPr>
          <p:nvPr/>
        </p:nvSpPr>
        <p:spPr>
          <a:xfrm>
            <a:off x="6045669" y="5109143"/>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Behavior Analysis</a:t>
            </a:r>
            <a:endParaRPr lang="en-US" dirty="0"/>
          </a:p>
        </p:txBody>
      </p:sp>
      <p:sp>
        <p:nvSpPr>
          <p:cNvPr id="36" name="TextBox 35">
            <a:extLst>
              <a:ext uri="{FF2B5EF4-FFF2-40B4-BE49-F238E27FC236}">
                <a16:creationId xmlns:a16="http://schemas.microsoft.com/office/drawing/2014/main" id="{DB351719-2A63-84D4-2BBD-48DA6D8FB123}"/>
              </a:ext>
            </a:extLst>
          </p:cNvPr>
          <p:cNvSpPr txBox="1"/>
          <p:nvPr/>
        </p:nvSpPr>
        <p:spPr>
          <a:xfrm>
            <a:off x="981509" y="5553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Trade Marketing</a:t>
            </a:r>
            <a:r>
              <a:rPr lang="en-US" sz="1500" b="0" i="0" dirty="0">
                <a:solidFill>
                  <a:srgbClr val="000000"/>
                </a:solidFill>
                <a:effectLst/>
                <a:latin typeface="+mj-lt"/>
              </a:rPr>
              <a:t> </a:t>
            </a:r>
            <a:endParaRPr lang="en-US" sz="1500" dirty="0">
              <a:latin typeface="+mj-lt"/>
            </a:endParaRPr>
          </a:p>
        </p:txBody>
      </p:sp>
      <p:sp>
        <p:nvSpPr>
          <p:cNvPr id="37" name="TextBox 36">
            <a:extLst>
              <a:ext uri="{FF2B5EF4-FFF2-40B4-BE49-F238E27FC236}">
                <a16:creationId xmlns:a16="http://schemas.microsoft.com/office/drawing/2014/main" id="{B4FB2C8D-1041-51AC-9197-8A1E6A46655E}"/>
              </a:ext>
            </a:extLst>
          </p:cNvPr>
          <p:cNvSpPr txBox="1"/>
          <p:nvPr/>
        </p:nvSpPr>
        <p:spPr>
          <a:xfrm>
            <a:off x="3706771" y="5553089"/>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Sale Operation</a:t>
            </a:r>
          </a:p>
        </p:txBody>
      </p:sp>
      <p:sp>
        <p:nvSpPr>
          <p:cNvPr id="38" name="TextBox 37">
            <a:extLst>
              <a:ext uri="{FF2B5EF4-FFF2-40B4-BE49-F238E27FC236}">
                <a16:creationId xmlns:a16="http://schemas.microsoft.com/office/drawing/2014/main" id="{822BF3C1-71E2-4508-E20B-711FF5BD3BD4}"/>
              </a:ext>
            </a:extLst>
          </p:cNvPr>
          <p:cNvSpPr txBox="1"/>
          <p:nvPr/>
        </p:nvSpPr>
        <p:spPr>
          <a:xfrm>
            <a:off x="6407983" y="5553088"/>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pic>
        <p:nvPicPr>
          <p:cNvPr id="8194" name="Picture 2">
            <a:extLst>
              <a:ext uri="{FF2B5EF4-FFF2-40B4-BE49-F238E27FC236}">
                <a16:creationId xmlns:a16="http://schemas.microsoft.com/office/drawing/2014/main" id="{213FAA6A-27C7-59A0-28AE-B2742FAF7D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02744" y="3079702"/>
            <a:ext cx="1589866" cy="138690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8C01A950-23CA-E9B5-3397-801B8BDD1B32}"/>
              </a:ext>
            </a:extLst>
          </p:cNvPr>
          <p:cNvSpPr/>
          <p:nvPr/>
        </p:nvSpPr>
        <p:spPr>
          <a:xfrm>
            <a:off x="8753406" y="1500569"/>
            <a:ext cx="2497394" cy="513900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6">
            <a:extLst>
              <a:ext uri="{FF2B5EF4-FFF2-40B4-BE49-F238E27FC236}">
                <a16:creationId xmlns:a16="http://schemas.microsoft.com/office/drawing/2014/main" id="{21F152BA-95F2-6562-0F0E-196312539742}"/>
              </a:ext>
            </a:extLst>
          </p:cNvPr>
          <p:cNvSpPr txBox="1">
            <a:spLocks/>
          </p:cNvSpPr>
          <p:nvPr/>
        </p:nvSpPr>
        <p:spPr>
          <a:xfrm>
            <a:off x="8847376" y="5100145"/>
            <a:ext cx="2472160" cy="443947"/>
          </a:xfrm>
          <a:prstGeom prst="rect">
            <a:avLst/>
          </a:prstGeom>
        </p:spPr>
        <p:txBody>
          <a:bodyPr vert="horz" lIns="91440" tIns="0" rIns="91440" bIns="0" rtlCol="0" anchor="b" anchorCtr="0">
            <a:noAutofit/>
          </a:bodyPr>
          <a:lstStyle>
            <a:lvl1pPr marL="0" marR="0" indent="0" algn="ctr" defTabSz="412740" eaLnBrk="1" latinLnBrk="0" hangingPunct="1">
              <a:lnSpc>
                <a:spcPct val="100000"/>
              </a:lnSpc>
              <a:spcBef>
                <a:spcPts val="0"/>
              </a:spcBef>
              <a:spcAft>
                <a:spcPts val="267"/>
              </a:spcAft>
              <a:buClrTx/>
              <a:buSzPct val="75000"/>
              <a:buFont typeface="Wingdings" pitchFamily="2" charset="2"/>
              <a:buNone/>
              <a:tabLst/>
              <a:defRPr sz="2000" b="1" i="0" u="none" strike="noStrike" cap="none" spc="0" baseline="0">
                <a:solidFill>
                  <a:schemeClr val="tx1"/>
                </a:solidFill>
                <a:uFillTx/>
                <a:latin typeface="HEINEKEN Core ExtraBold" panose="02000503050000020004" pitchFamily="2" charset="0"/>
                <a:ea typeface="HEINEKEN Core ExtraBold" panose="02000503050000020004" pitchFamily="2" charset="0"/>
                <a:cs typeface="HEINEKEN Core ExtraBold" panose="02000503050000020004" pitchFamily="2" charset="0"/>
                <a:sym typeface="Helvetica Light"/>
              </a:defRPr>
            </a:lvl1pPr>
            <a:lvl2pPr marL="180975"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ctr" defTabSz="412740" eaLnBrk="1" latinLnBrk="0" hangingPunct="1">
              <a:lnSpc>
                <a:spcPct val="15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ctr"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800" dirty="0">
                <a:solidFill>
                  <a:srgbClr val="000000"/>
                </a:solidFill>
                <a:latin typeface="HEINEKEN Core" panose="02000503050000020004" pitchFamily="2" charset="0"/>
                <a:ea typeface="Calibri" panose="020F0502020204030204" pitchFamily="34" charset="0"/>
                <a:cs typeface="Arial" panose="020B0604020202020204" pitchFamily="34" charset="0"/>
              </a:rPr>
              <a:t>Customer Segmentation</a:t>
            </a:r>
            <a:endParaRPr lang="en-US" dirty="0"/>
          </a:p>
        </p:txBody>
      </p:sp>
      <p:sp>
        <p:nvSpPr>
          <p:cNvPr id="41" name="TextBox 40">
            <a:extLst>
              <a:ext uri="{FF2B5EF4-FFF2-40B4-BE49-F238E27FC236}">
                <a16:creationId xmlns:a16="http://schemas.microsoft.com/office/drawing/2014/main" id="{021C03E6-1B72-4F11-48D9-E8F525A33C73}"/>
              </a:ext>
            </a:extLst>
          </p:cNvPr>
          <p:cNvSpPr txBox="1"/>
          <p:nvPr/>
        </p:nvSpPr>
        <p:spPr>
          <a:xfrm>
            <a:off x="9209690" y="554409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dirty="0">
                <a:latin typeface="+mj-lt"/>
              </a:rPr>
              <a:t>Route to Consumer</a:t>
            </a:r>
          </a:p>
        </p:txBody>
      </p:sp>
    </p:spTree>
    <p:extLst>
      <p:ext uri="{BB962C8B-B14F-4D97-AF65-F5344CB8AC3E}">
        <p14:creationId xmlns:p14="http://schemas.microsoft.com/office/powerpoint/2010/main" val="41562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DD5BFE8-3778-D814-9005-F92647F6A38C}"/>
              </a:ext>
            </a:extLst>
          </p:cNvPr>
          <p:cNvSpPr>
            <a:spLocks noGrp="1"/>
          </p:cNvSpPr>
          <p:nvPr>
            <p:ph type="title"/>
          </p:nvPr>
        </p:nvSpPr>
        <p:spPr/>
        <p:txBody>
          <a:bodyPr/>
          <a:lstStyle/>
          <a:p>
            <a:r>
              <a:rPr lang="en-US" dirty="0"/>
              <a:t>METHODOLOGY </a:t>
            </a:r>
          </a:p>
        </p:txBody>
      </p:sp>
      <p:sp>
        <p:nvSpPr>
          <p:cNvPr id="13" name="Text Placeholder 12">
            <a:extLst>
              <a:ext uri="{FF2B5EF4-FFF2-40B4-BE49-F238E27FC236}">
                <a16:creationId xmlns:a16="http://schemas.microsoft.com/office/drawing/2014/main" id="{F6763D6D-0720-BC62-D344-87AE915D47CA}"/>
              </a:ext>
            </a:extLst>
          </p:cNvPr>
          <p:cNvSpPr>
            <a:spLocks noGrp="1"/>
          </p:cNvSpPr>
          <p:nvPr>
            <p:ph type="body" sz="quarter" idx="63"/>
          </p:nvPr>
        </p:nvSpPr>
        <p:spPr>
          <a:xfrm>
            <a:off x="456955" y="839060"/>
            <a:ext cx="10437759" cy="300831"/>
          </a:xfrm>
        </p:spPr>
        <p:txBody>
          <a:bodyPr/>
          <a:lstStyle/>
          <a:p>
            <a:r>
              <a:rPr lang="en-US" sz="1200" spc="0" dirty="0">
                <a:solidFill>
                  <a:srgbClr val="000000"/>
                </a:solidFill>
                <a:cs typeface="Arial" panose="020B0604020202020204" pitchFamily="34" charset="0"/>
              </a:rPr>
              <a:t>Advance Analytic on the model to recommend the customer targeting effectively</a:t>
            </a:r>
            <a:endParaRPr lang="en-US" sz="1200" spc="0" dirty="0"/>
          </a:p>
        </p:txBody>
      </p:sp>
      <p:sp>
        <p:nvSpPr>
          <p:cNvPr id="6" name="Flowchart: Magnetic Disk 5">
            <a:extLst>
              <a:ext uri="{FF2B5EF4-FFF2-40B4-BE49-F238E27FC236}">
                <a16:creationId xmlns:a16="http://schemas.microsoft.com/office/drawing/2014/main" id="{1398CE7E-EB3D-301B-24B0-1C05716B952E}"/>
              </a:ext>
            </a:extLst>
          </p:cNvPr>
          <p:cNvSpPr/>
          <p:nvPr/>
        </p:nvSpPr>
        <p:spPr>
          <a:xfrm>
            <a:off x="456955" y="1552429"/>
            <a:ext cx="1623695" cy="1893728"/>
          </a:xfrm>
          <a:prstGeom prst="flowChartMagneticDisk">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Historical Customer, Trade Program Data</a:t>
            </a:r>
            <a:endParaRPr lang="en-US" sz="1400"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21FC4BF8-79D3-71C8-25B1-7B87EC978807}"/>
              </a:ext>
            </a:extLst>
          </p:cNvPr>
          <p:cNvSpPr/>
          <p:nvPr/>
        </p:nvSpPr>
        <p:spPr>
          <a:xfrm>
            <a:off x="4437087" y="2107475"/>
            <a:ext cx="2178685" cy="904240"/>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Trend-Estimation Algorithm</a:t>
            </a:r>
            <a:endParaRPr lang="en-US" sz="1400"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DB71C851-B854-D581-541A-E6B490509DE1}"/>
              </a:ext>
            </a:extLst>
          </p:cNvPr>
          <p:cNvSpPr/>
          <p:nvPr/>
        </p:nvSpPr>
        <p:spPr>
          <a:xfrm>
            <a:off x="8972209" y="2124577"/>
            <a:ext cx="2169160" cy="904240"/>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Adaptive-Greedy Algorithm</a:t>
            </a:r>
            <a:endParaRPr lang="en-US" sz="1400" dirty="0">
              <a:ea typeface="Calibri" panose="020F0502020204030204" pitchFamily="34" charset="0"/>
              <a:cs typeface="DaunPenh" panose="01010101010101010101" pitchFamily="2" charset="0"/>
            </a:endParaRPr>
          </a:p>
        </p:txBody>
      </p:sp>
      <p:sp>
        <p:nvSpPr>
          <p:cNvPr id="9" name="Oval 8">
            <a:extLst>
              <a:ext uri="{FF2B5EF4-FFF2-40B4-BE49-F238E27FC236}">
                <a16:creationId xmlns:a16="http://schemas.microsoft.com/office/drawing/2014/main" id="{39B662FB-B3DB-5EA1-8567-45C08466AD99}"/>
              </a:ext>
            </a:extLst>
          </p:cNvPr>
          <p:cNvSpPr/>
          <p:nvPr/>
        </p:nvSpPr>
        <p:spPr>
          <a:xfrm>
            <a:off x="4605762" y="4754586"/>
            <a:ext cx="2178685" cy="1011555"/>
          </a:xfrm>
          <a:prstGeom prst="ellipse">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dirty="0">
                <a:latin typeface="HEINEKEN Core" panose="02000503050000020004" pitchFamily="2" charset="0"/>
                <a:ea typeface="Calibri" panose="020F0502020204030204" pitchFamily="34" charset="0"/>
                <a:cs typeface="DaunPenh" panose="01010101010101010101" pitchFamily="2" charset="0"/>
              </a:rPr>
              <a:t>Customer Targeting Recommendation</a:t>
            </a:r>
            <a:endParaRPr lang="en-US" sz="1400" dirty="0">
              <a:ea typeface="Calibri" panose="020F0502020204030204" pitchFamily="34" charset="0"/>
              <a:cs typeface="DaunPenh" panose="01010101010101010101" pitchFamily="2" charset="0"/>
            </a:endParaRPr>
          </a:p>
        </p:txBody>
      </p:sp>
      <p:sp>
        <p:nvSpPr>
          <p:cNvPr id="10" name="Arrow: Right 9">
            <a:extLst>
              <a:ext uri="{FF2B5EF4-FFF2-40B4-BE49-F238E27FC236}">
                <a16:creationId xmlns:a16="http://schemas.microsoft.com/office/drawing/2014/main" id="{16771129-442F-9D98-546B-9B44ECFE0DE5}"/>
              </a:ext>
            </a:extLst>
          </p:cNvPr>
          <p:cNvSpPr/>
          <p:nvPr/>
        </p:nvSpPr>
        <p:spPr>
          <a:xfrm>
            <a:off x="2428276" y="2389819"/>
            <a:ext cx="1779740" cy="379095"/>
          </a:xfrm>
          <a:prstGeom prst="rightArrow">
            <a:avLst/>
          </a:prstGeom>
          <a:solidFill>
            <a:schemeClr val="bg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 name="Text Box 21">
            <a:extLst>
              <a:ext uri="{FF2B5EF4-FFF2-40B4-BE49-F238E27FC236}">
                <a16:creationId xmlns:a16="http://schemas.microsoft.com/office/drawing/2014/main" id="{F5860FF2-12E6-018B-86C9-C89E30283220}"/>
              </a:ext>
            </a:extLst>
          </p:cNvPr>
          <p:cNvSpPr txBox="1"/>
          <p:nvPr/>
        </p:nvSpPr>
        <p:spPr>
          <a:xfrm>
            <a:off x="6963398" y="2845435"/>
            <a:ext cx="1487805" cy="583565"/>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000" dirty="0">
                <a:solidFill>
                  <a:srgbClr val="002060"/>
                </a:solidFill>
                <a:latin typeface="HEINEKEN Core" panose="02000503050000020004" pitchFamily="2" charset="0"/>
                <a:ea typeface="Calibri" panose="020F0502020204030204" pitchFamily="34" charset="0"/>
                <a:cs typeface="DaunPenh" panose="01010101010101010101" pitchFamily="2" charset="0"/>
              </a:rPr>
              <a:t>Customer Performance, </a:t>
            </a:r>
            <a:r>
              <a:rPr lang="en-US" sz="1000" dirty="0" err="1">
                <a:solidFill>
                  <a:srgbClr val="002060"/>
                </a:solidFill>
                <a:latin typeface="HEINEKEN Core" panose="02000503050000020004" pitchFamily="2" charset="0"/>
                <a:ea typeface="Calibri" panose="020F0502020204030204" pitchFamily="34" charset="0"/>
                <a:cs typeface="DaunPenh" panose="01010101010101010101" pitchFamily="2" charset="0"/>
              </a:rPr>
              <a:t>Segementation</a:t>
            </a:r>
            <a:endParaRPr lang="en-US" sz="1100" dirty="0">
              <a:latin typeface="Calibri" panose="020F0502020204030204" pitchFamily="34" charset="0"/>
              <a:ea typeface="Calibri" panose="020F0502020204030204" pitchFamily="34" charset="0"/>
              <a:cs typeface="DaunPenh" panose="01010101010101010101" pitchFamily="2" charset="0"/>
            </a:endParaRPr>
          </a:p>
        </p:txBody>
      </p:sp>
      <p:sp>
        <p:nvSpPr>
          <p:cNvPr id="18" name="Text Box 22">
            <a:extLst>
              <a:ext uri="{FF2B5EF4-FFF2-40B4-BE49-F238E27FC236}">
                <a16:creationId xmlns:a16="http://schemas.microsoft.com/office/drawing/2014/main" id="{F3A69B58-BAC1-47DB-1E83-799EAA15D2AF}"/>
              </a:ext>
            </a:extLst>
          </p:cNvPr>
          <p:cNvSpPr txBox="1"/>
          <p:nvPr/>
        </p:nvSpPr>
        <p:spPr>
          <a:xfrm>
            <a:off x="7104697" y="1737876"/>
            <a:ext cx="1127760" cy="583565"/>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1000">
                <a:solidFill>
                  <a:srgbClr val="002060"/>
                </a:solidFill>
                <a:latin typeface="HEINEKEN Core" panose="02000503050000020004" pitchFamily="2" charset="0"/>
                <a:ea typeface="Calibri" panose="020F0502020204030204" pitchFamily="34" charset="0"/>
                <a:cs typeface="DaunPenh" panose="01010101010101010101" pitchFamily="2" charset="0"/>
              </a:rPr>
              <a:t>Promotion Price &amp; Budget</a:t>
            </a:r>
            <a:endParaRPr lang="en-US" sz="1100">
              <a:latin typeface="Calibri" panose="020F0502020204030204" pitchFamily="34" charset="0"/>
              <a:ea typeface="Calibri" panose="020F0502020204030204" pitchFamily="34" charset="0"/>
              <a:cs typeface="DaunPenh" panose="01010101010101010101" pitchFamily="2" charset="0"/>
            </a:endParaRPr>
          </a:p>
        </p:txBody>
      </p:sp>
      <p:sp>
        <p:nvSpPr>
          <p:cNvPr id="19" name="Arrow: Right 18">
            <a:extLst>
              <a:ext uri="{FF2B5EF4-FFF2-40B4-BE49-F238E27FC236}">
                <a16:creationId xmlns:a16="http://schemas.microsoft.com/office/drawing/2014/main" id="{1EC0BF99-92C9-2DFC-9F76-05484E2C25B4}"/>
              </a:ext>
            </a:extLst>
          </p:cNvPr>
          <p:cNvSpPr/>
          <p:nvPr/>
        </p:nvSpPr>
        <p:spPr>
          <a:xfrm>
            <a:off x="6844843" y="2375317"/>
            <a:ext cx="1779740" cy="379095"/>
          </a:xfrm>
          <a:prstGeom prst="rightArrow">
            <a:avLst/>
          </a:prstGeom>
          <a:solidFill>
            <a:schemeClr val="bg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4" name="Rectangle 23">
            <a:extLst>
              <a:ext uri="{FF2B5EF4-FFF2-40B4-BE49-F238E27FC236}">
                <a16:creationId xmlns:a16="http://schemas.microsoft.com/office/drawing/2014/main" id="{707922F5-E9DC-80AA-11E7-871F9A6275D6}"/>
              </a:ext>
            </a:extLst>
          </p:cNvPr>
          <p:cNvSpPr/>
          <p:nvPr/>
        </p:nvSpPr>
        <p:spPr>
          <a:xfrm>
            <a:off x="4184635" y="4545367"/>
            <a:ext cx="2947438" cy="147357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rrow: Bent 1">
            <a:extLst>
              <a:ext uri="{FF2B5EF4-FFF2-40B4-BE49-F238E27FC236}">
                <a16:creationId xmlns:a16="http://schemas.microsoft.com/office/drawing/2014/main" id="{4E02D894-AB2F-3752-2AD3-9104BAFA2F90}"/>
              </a:ext>
            </a:extLst>
          </p:cNvPr>
          <p:cNvSpPr/>
          <p:nvPr/>
        </p:nvSpPr>
        <p:spPr>
          <a:xfrm rot="10800000">
            <a:off x="8972209" y="3829184"/>
            <a:ext cx="1402671" cy="2044468"/>
          </a:xfrm>
          <a:prstGeom prst="bentArrow">
            <a:avLst>
              <a:gd name="adj1" fmla="val 25000"/>
              <a:gd name="adj2" fmla="val 25000"/>
              <a:gd name="adj3" fmla="val 25000"/>
              <a:gd name="adj4" fmla="val 43750"/>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323834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927308" y="1609643"/>
            <a:ext cx="7117480" cy="3233291"/>
          </a:xfrm>
        </p:spPr>
        <p:txBody>
          <a:bodyPr anchor="b">
            <a:normAutofit/>
          </a:bodyPr>
          <a:lstStyle/>
          <a:p>
            <a:r>
              <a:rPr lang="en-US" dirty="0"/>
              <a:t>PROJECT ROADMAP </a:t>
            </a:r>
            <a:br>
              <a:rPr lang="en-US" dirty="0"/>
            </a:br>
            <a:r>
              <a:rPr lang="en-US" dirty="0"/>
              <a:t>&amp; PLANNING</a:t>
            </a:r>
            <a:endParaRPr lang="nl-NL" dirty="0"/>
          </a:p>
        </p:txBody>
      </p:sp>
      <p:pic>
        <p:nvPicPr>
          <p:cNvPr id="6" name="Picture 5">
            <a:extLst>
              <a:ext uri="{FF2B5EF4-FFF2-40B4-BE49-F238E27FC236}">
                <a16:creationId xmlns:a16="http://schemas.microsoft.com/office/drawing/2014/main" id="{06816A11-B553-7C7F-B5F0-CA96B1760D6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Tree>
    <p:extLst>
      <p:ext uri="{BB962C8B-B14F-4D97-AF65-F5344CB8AC3E}">
        <p14:creationId xmlns:p14="http://schemas.microsoft.com/office/powerpoint/2010/main" val="262752476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Text Placeholder">
            <a:extLst>
              <a:ext uri="{FF2B5EF4-FFF2-40B4-BE49-F238E27FC236}">
                <a16:creationId xmlns:a16="http://schemas.microsoft.com/office/drawing/2014/main" id="{632464BB-24B2-4920-A74D-D8618DDA72C5}"/>
              </a:ext>
            </a:extLst>
          </p:cNvPr>
          <p:cNvSpPr>
            <a:spLocks noGrp="1"/>
          </p:cNvSpPr>
          <p:nvPr>
            <p:custDataLst>
              <p:tags r:id="rId2"/>
            </p:custDataLst>
          </p:nvPr>
        </p:nvSpPr>
        <p:spPr bwMode="auto">
          <a:xfrm>
            <a:off x="528637" y="1604531"/>
            <a:ext cx="2857500" cy="1419225"/>
          </a:xfrm>
          <a:prstGeom prst="chevron">
            <a:avLst>
              <a:gd name="adj" fmla="val 18233"/>
            </a:avLst>
          </a:prstGeom>
          <a:solidFill>
            <a:schemeClr val="tx2"/>
          </a:solidFill>
          <a:ln w="9525" algn="ctr">
            <a:solidFill>
              <a:schemeClr val="bg2"/>
            </a:solidFill>
          </a:ln>
          <a:effectLst/>
        </p:spPr>
        <p:txBody>
          <a:bodyPr vert="horz" wrap="square" lIns="69850"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Understand the gaps of current scope both business and data </a:t>
            </a:r>
          </a:p>
        </p:txBody>
      </p:sp>
      <p:sp>
        <p:nvSpPr>
          <p:cNvPr id="8" name="Text Placeholder">
            <a:extLst>
              <a:ext uri="{FF2B5EF4-FFF2-40B4-BE49-F238E27FC236}">
                <a16:creationId xmlns:a16="http://schemas.microsoft.com/office/drawing/2014/main" id="{16C86254-61F8-4909-8F94-8AFB9576BD34}"/>
              </a:ext>
            </a:extLst>
          </p:cNvPr>
          <p:cNvSpPr>
            <a:spLocks noGrp="1"/>
          </p:cNvSpPr>
          <p:nvPr>
            <p:custDataLst>
              <p:tags r:id="rId3"/>
            </p:custDataLst>
          </p:nvPr>
        </p:nvSpPr>
        <p:spPr bwMode="auto">
          <a:xfrm>
            <a:off x="3127375"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284163" rIns="0" bIns="28416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Propose recommendation to business on the targeting gaps</a:t>
            </a:r>
          </a:p>
        </p:txBody>
      </p:sp>
      <p:sp>
        <p:nvSpPr>
          <p:cNvPr id="13" name="Text Placeholder">
            <a:extLst>
              <a:ext uri="{FF2B5EF4-FFF2-40B4-BE49-F238E27FC236}">
                <a16:creationId xmlns:a16="http://schemas.microsoft.com/office/drawing/2014/main" id="{90A78B1E-02A3-4847-AF5E-9076E811FDC5}"/>
              </a:ext>
            </a:extLst>
          </p:cNvPr>
          <p:cNvSpPr>
            <a:spLocks noGrp="1"/>
          </p:cNvSpPr>
          <p:nvPr>
            <p:custDataLst>
              <p:tags r:id="rId4"/>
            </p:custDataLst>
          </p:nvPr>
        </p:nvSpPr>
        <p:spPr bwMode="auto">
          <a:xfrm>
            <a:off x="5283200"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71438" rIns="42863" bIns="71438"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Propose recommendation to Data Team</a:t>
            </a:r>
            <a:br>
              <a:rPr lang="en-US" sz="1400" dirty="0">
                <a:solidFill>
                  <a:schemeClr val="bg2"/>
                </a:solidFill>
                <a:latin typeface="+mn-lt"/>
              </a:rPr>
            </a:br>
            <a:r>
              <a:rPr lang="en-US" sz="1400" dirty="0">
                <a:solidFill>
                  <a:schemeClr val="bg2"/>
                </a:solidFill>
                <a:latin typeface="+mn-lt"/>
              </a:rPr>
              <a:t>for a better data strategy that can fill the gaps</a:t>
            </a:r>
          </a:p>
        </p:txBody>
      </p:sp>
      <p:sp>
        <p:nvSpPr>
          <p:cNvPr id="43" name="Text Placeholder">
            <a:extLst>
              <a:ext uri="{FF2B5EF4-FFF2-40B4-BE49-F238E27FC236}">
                <a16:creationId xmlns:a16="http://schemas.microsoft.com/office/drawing/2014/main" id="{711748B7-A61C-48EE-B51D-4FC593219A11}"/>
              </a:ext>
            </a:extLst>
          </p:cNvPr>
          <p:cNvSpPr>
            <a:spLocks noGrp="1"/>
          </p:cNvSpPr>
          <p:nvPr>
            <p:custDataLst>
              <p:tags r:id="rId5"/>
            </p:custDataLst>
          </p:nvPr>
        </p:nvSpPr>
        <p:spPr bwMode="auto">
          <a:xfrm>
            <a:off x="7439025"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177800" rIns="0" bIns="177800"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Customer Persona and other master data information to be collected and maintained</a:t>
            </a:r>
          </a:p>
        </p:txBody>
      </p:sp>
      <p:sp>
        <p:nvSpPr>
          <p:cNvPr id="82" name="Text Placeholder">
            <a:extLst>
              <a:ext uri="{FF2B5EF4-FFF2-40B4-BE49-F238E27FC236}">
                <a16:creationId xmlns:a16="http://schemas.microsoft.com/office/drawing/2014/main" id="{12FD5DEE-A063-45C5-A68A-D2BFDA53DA3B}"/>
              </a:ext>
            </a:extLst>
          </p:cNvPr>
          <p:cNvSpPr>
            <a:spLocks noGrp="1"/>
          </p:cNvSpPr>
          <p:nvPr>
            <p:custDataLst>
              <p:tags r:id="rId6"/>
            </p:custDataLst>
          </p:nvPr>
        </p:nvSpPr>
        <p:spPr bwMode="auto">
          <a:xfrm>
            <a:off x="5416370"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0"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Data Warehousing (DM)</a:t>
            </a:r>
            <a:br>
              <a:rPr lang="en-US" altLang="en-US" sz="1200" dirty="0">
                <a:solidFill>
                  <a:schemeClr val="bg2"/>
                </a:solidFill>
                <a:effectLst/>
                <a:latin typeface="+mn-lt"/>
              </a:rPr>
            </a:br>
            <a:r>
              <a:rPr lang="en-US" altLang="en-US" sz="1200" dirty="0">
                <a:solidFill>
                  <a:schemeClr val="bg2"/>
                </a:solidFill>
                <a:effectLst/>
                <a:latin typeface="+mn-lt"/>
              </a:rPr>
              <a:t>Data Model (DM)</a:t>
            </a:r>
            <a:br>
              <a:rPr lang="en-US" altLang="en-US" sz="1200" dirty="0">
                <a:solidFill>
                  <a:schemeClr val="bg2"/>
                </a:solidFill>
                <a:effectLst/>
                <a:latin typeface="+mn-lt"/>
              </a:rPr>
            </a:br>
            <a:r>
              <a:rPr lang="en-US" altLang="en-US" sz="1200" dirty="0">
                <a:solidFill>
                  <a:schemeClr val="bg2"/>
                </a:solidFill>
                <a:effectLst/>
                <a:latin typeface="+mn-lt"/>
              </a:rPr>
              <a:t>Analytics Model (DA) </a:t>
            </a:r>
          </a:p>
          <a:p>
            <a:pPr marL="0" indent="0">
              <a:spcBef>
                <a:spcPct val="0"/>
              </a:spcBef>
              <a:spcAft>
                <a:spcPct val="0"/>
              </a:spcAft>
              <a:buNone/>
            </a:pPr>
            <a:endParaRPr lang="en-US" sz="1200" dirty="0">
              <a:solidFill>
                <a:schemeClr val="bg2"/>
              </a:solidFill>
              <a:latin typeface="+mn-lt"/>
            </a:endParaRPr>
          </a:p>
        </p:txBody>
      </p:sp>
      <p:sp>
        <p:nvSpPr>
          <p:cNvPr id="88" name="Text Placeholder">
            <a:extLst>
              <a:ext uri="{FF2B5EF4-FFF2-40B4-BE49-F238E27FC236}">
                <a16:creationId xmlns:a16="http://schemas.microsoft.com/office/drawing/2014/main" id="{47144593-0E07-4C3F-8A17-27C6C77E89AC}"/>
              </a:ext>
            </a:extLst>
          </p:cNvPr>
          <p:cNvSpPr>
            <a:spLocks noGrp="1"/>
          </p:cNvSpPr>
          <p:nvPr>
            <p:custDataLst>
              <p:tags r:id="rId7"/>
            </p:custDataLst>
          </p:nvPr>
        </p:nvSpPr>
        <p:spPr bwMode="auto">
          <a:xfrm>
            <a:off x="661808" y="3023756"/>
            <a:ext cx="2598738"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106362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Current scope: understand the current status first</a:t>
            </a:r>
            <a:endParaRPr lang="en-US" sz="1200" dirty="0">
              <a:solidFill>
                <a:schemeClr val="bg2"/>
              </a:solidFill>
              <a:latin typeface="+mn-lt"/>
            </a:endParaRPr>
          </a:p>
        </p:txBody>
      </p:sp>
      <p:sp>
        <p:nvSpPr>
          <p:cNvPr id="95" name="Rectangle 94">
            <a:extLst>
              <a:ext uri="{FF2B5EF4-FFF2-40B4-BE49-F238E27FC236}">
                <a16:creationId xmlns:a16="http://schemas.microsoft.com/office/drawing/2014/main" id="{ACFEFECC-2114-4979-9F52-51A450139568}"/>
              </a:ext>
            </a:extLst>
          </p:cNvPr>
          <p:cNvSpPr/>
          <p:nvPr/>
        </p:nvSpPr>
        <p:spPr bwMode="gray">
          <a:xfrm>
            <a:off x="528423" y="1190203"/>
            <a:ext cx="5101910" cy="327550"/>
          </a:xfrm>
          <a:prstGeom prst="rect">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dirty="0">
                <a:solidFill>
                  <a:schemeClr val="tx2"/>
                </a:solidFill>
              </a:rPr>
              <a:t>Current Process</a:t>
            </a:r>
          </a:p>
        </p:txBody>
      </p:sp>
      <p:sp>
        <p:nvSpPr>
          <p:cNvPr id="96" name="Arrow: Pentagon 95">
            <a:extLst>
              <a:ext uri="{FF2B5EF4-FFF2-40B4-BE49-F238E27FC236}">
                <a16:creationId xmlns:a16="http://schemas.microsoft.com/office/drawing/2014/main" id="{F3EA08E7-7D10-4176-AE26-DB4884618F15}"/>
              </a:ext>
            </a:extLst>
          </p:cNvPr>
          <p:cNvSpPr/>
          <p:nvPr/>
        </p:nvSpPr>
        <p:spPr bwMode="gray">
          <a:xfrm>
            <a:off x="5775483" y="1191273"/>
            <a:ext cx="5900580" cy="326480"/>
          </a:xfrm>
          <a:prstGeom prst="homePlate">
            <a:avLst/>
          </a:prstGeom>
          <a:solidFill>
            <a:schemeClr val="accent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dirty="0">
                <a:solidFill>
                  <a:schemeClr val="tx2"/>
                </a:solidFill>
              </a:rPr>
              <a:t>Next Process</a:t>
            </a:r>
          </a:p>
        </p:txBody>
      </p:sp>
      <p:sp>
        <p:nvSpPr>
          <p:cNvPr id="97" name="Text Placeholder">
            <a:extLst>
              <a:ext uri="{FF2B5EF4-FFF2-40B4-BE49-F238E27FC236}">
                <a16:creationId xmlns:a16="http://schemas.microsoft.com/office/drawing/2014/main" id="{DFD254A7-6AA5-4D7C-B07C-8153F31B8998}"/>
              </a:ext>
            </a:extLst>
          </p:cNvPr>
          <p:cNvSpPr>
            <a:spLocks noGrp="1"/>
          </p:cNvSpPr>
          <p:nvPr>
            <p:custDataLst>
              <p:tags r:id="rId8"/>
            </p:custDataLst>
          </p:nvPr>
        </p:nvSpPr>
        <p:spPr bwMode="auto">
          <a:xfrm>
            <a:off x="9594850" y="1604531"/>
            <a:ext cx="2414588" cy="1419225"/>
          </a:xfrm>
          <a:prstGeom prst="chevron">
            <a:avLst>
              <a:gd name="adj" fmla="val 18233"/>
            </a:avLst>
          </a:prstGeom>
          <a:solidFill>
            <a:schemeClr val="tx2"/>
          </a:solidFill>
          <a:ln w="9525" algn="ctr">
            <a:solidFill>
              <a:schemeClr val="bg2"/>
            </a:solidFill>
          </a:ln>
          <a:effectLst/>
        </p:spPr>
        <p:txBody>
          <a:bodyPr vert="horz" wrap="square" lIns="71438"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bg2"/>
                </a:solidFill>
                <a:latin typeface="+mn-lt"/>
              </a:rPr>
              <a:t>Support “lead digital and ecommerce” ambition</a:t>
            </a:r>
          </a:p>
        </p:txBody>
      </p:sp>
      <p:sp>
        <p:nvSpPr>
          <p:cNvPr id="132" name="Text Placeholder">
            <a:extLst>
              <a:ext uri="{FF2B5EF4-FFF2-40B4-BE49-F238E27FC236}">
                <a16:creationId xmlns:a16="http://schemas.microsoft.com/office/drawing/2014/main" id="{536CEB6C-E337-45B7-93D7-820AAF34586C}"/>
              </a:ext>
            </a:extLst>
          </p:cNvPr>
          <p:cNvSpPr>
            <a:spLocks noGrp="1"/>
          </p:cNvSpPr>
          <p:nvPr>
            <p:custDataLst>
              <p:tags r:id="rId9"/>
            </p:custDataLst>
          </p:nvPr>
        </p:nvSpPr>
        <p:spPr bwMode="auto">
          <a:xfrm>
            <a:off x="7572195"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28575" bIns="42545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Forward looking into what are the new fields (new info), how the fields are needed, what will be of use, how to leverage on them</a:t>
            </a:r>
            <a:endParaRPr lang="en-US" sz="1200" dirty="0">
              <a:solidFill>
                <a:schemeClr val="bg2"/>
              </a:solidFill>
              <a:latin typeface="+mn-lt"/>
            </a:endParaRPr>
          </a:p>
        </p:txBody>
      </p:sp>
      <p:sp>
        <p:nvSpPr>
          <p:cNvPr id="146" name="Text Placeholder">
            <a:extLst>
              <a:ext uri="{FF2B5EF4-FFF2-40B4-BE49-F238E27FC236}">
                <a16:creationId xmlns:a16="http://schemas.microsoft.com/office/drawing/2014/main" id="{49A1F8CF-DB77-41BB-866C-CA420E517C78}"/>
              </a:ext>
            </a:extLst>
          </p:cNvPr>
          <p:cNvSpPr>
            <a:spLocks noGrp="1"/>
          </p:cNvSpPr>
          <p:nvPr>
            <p:custDataLst>
              <p:tags r:id="rId10"/>
            </p:custDataLst>
          </p:nvPr>
        </p:nvSpPr>
        <p:spPr bwMode="auto">
          <a:xfrm>
            <a:off x="9728020"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Think outside the box, thi</a:t>
            </a:r>
            <a:r>
              <a:rPr lang="en-US" altLang="en-US" sz="1200" dirty="0">
                <a:solidFill>
                  <a:schemeClr val="bg2"/>
                </a:solidFill>
                <a:latin typeface="+mn-lt"/>
              </a:rPr>
              <a:t>s is an exploratory study. What are the data we should further collect, maintain, how these data will be beneficial, what are the new insights it will bring</a:t>
            </a:r>
            <a:endParaRPr lang="en-US" sz="1200" dirty="0">
              <a:solidFill>
                <a:schemeClr val="bg2"/>
              </a:solidFill>
              <a:latin typeface="+mn-lt"/>
            </a:endParaRPr>
          </a:p>
        </p:txBody>
      </p:sp>
      <p:sp>
        <p:nvSpPr>
          <p:cNvPr id="204" name="Text Placeholder">
            <a:extLst>
              <a:ext uri="{FF2B5EF4-FFF2-40B4-BE49-F238E27FC236}">
                <a16:creationId xmlns:a16="http://schemas.microsoft.com/office/drawing/2014/main" id="{D369ED5E-078B-404E-9BF6-70B09D07DA6E}"/>
              </a:ext>
            </a:extLst>
          </p:cNvPr>
          <p:cNvSpPr>
            <a:spLocks noGrp="1"/>
          </p:cNvSpPr>
          <p:nvPr>
            <p:custDataLst>
              <p:tags r:id="rId11"/>
            </p:custDataLst>
          </p:nvPr>
        </p:nvSpPr>
        <p:spPr bwMode="auto">
          <a:xfrm>
            <a:off x="3260545" y="3023756"/>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41275"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2"/>
                </a:solidFill>
                <a:effectLst/>
                <a:latin typeface="+mn-lt"/>
              </a:rPr>
              <a:t>Post the ideal scenarios, what should be th</a:t>
            </a:r>
            <a:r>
              <a:rPr lang="en-US" altLang="en-US" sz="1200" dirty="0">
                <a:solidFill>
                  <a:schemeClr val="bg2"/>
                </a:solidFill>
                <a:latin typeface="+mn-lt"/>
              </a:rPr>
              <a:t>e best way in optimizing the program</a:t>
            </a:r>
            <a:endParaRPr lang="en-US" sz="1200" dirty="0">
              <a:solidFill>
                <a:schemeClr val="bg2"/>
              </a:solidFill>
              <a:latin typeface="+mn-lt"/>
            </a:endParaRPr>
          </a:p>
        </p:txBody>
      </p:sp>
      <p:sp>
        <p:nvSpPr>
          <p:cNvPr id="236" name="Oval 235">
            <a:extLst>
              <a:ext uri="{FF2B5EF4-FFF2-40B4-BE49-F238E27FC236}">
                <a16:creationId xmlns:a16="http://schemas.microsoft.com/office/drawing/2014/main" id="{8889F9B6-CF92-4E25-8334-89689AC28DC6}"/>
              </a:ext>
            </a:extLst>
          </p:cNvPr>
          <p:cNvSpPr/>
          <p:nvPr/>
        </p:nvSpPr>
        <p:spPr bwMode="gray">
          <a:xfrm>
            <a:off x="265282" y="4181383"/>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1</a:t>
            </a:r>
          </a:p>
        </p:txBody>
      </p:sp>
      <p:sp>
        <p:nvSpPr>
          <p:cNvPr id="237" name="Oval 236">
            <a:extLst>
              <a:ext uri="{FF2B5EF4-FFF2-40B4-BE49-F238E27FC236}">
                <a16:creationId xmlns:a16="http://schemas.microsoft.com/office/drawing/2014/main" id="{72D5FF38-976A-406A-81B1-BBF8507848E7}"/>
              </a:ext>
            </a:extLst>
          </p:cNvPr>
          <p:cNvSpPr/>
          <p:nvPr/>
        </p:nvSpPr>
        <p:spPr bwMode="gray">
          <a:xfrm>
            <a:off x="2864019" y="4111099"/>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2</a:t>
            </a:r>
          </a:p>
        </p:txBody>
      </p:sp>
      <p:sp>
        <p:nvSpPr>
          <p:cNvPr id="238" name="Oval 237">
            <a:extLst>
              <a:ext uri="{FF2B5EF4-FFF2-40B4-BE49-F238E27FC236}">
                <a16:creationId xmlns:a16="http://schemas.microsoft.com/office/drawing/2014/main" id="{2687BC96-19F4-48BF-BEFA-E7B589A3C067}"/>
              </a:ext>
            </a:extLst>
          </p:cNvPr>
          <p:cNvSpPr/>
          <p:nvPr/>
        </p:nvSpPr>
        <p:spPr bwMode="gray">
          <a:xfrm>
            <a:off x="5020493" y="4093945"/>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3</a:t>
            </a:r>
          </a:p>
        </p:txBody>
      </p:sp>
      <p:sp>
        <p:nvSpPr>
          <p:cNvPr id="239" name="Oval 238">
            <a:extLst>
              <a:ext uri="{FF2B5EF4-FFF2-40B4-BE49-F238E27FC236}">
                <a16:creationId xmlns:a16="http://schemas.microsoft.com/office/drawing/2014/main" id="{59410BE0-DABB-4CF0-BCC7-40D5C2EBA034}"/>
              </a:ext>
            </a:extLst>
          </p:cNvPr>
          <p:cNvSpPr/>
          <p:nvPr/>
        </p:nvSpPr>
        <p:spPr bwMode="gray">
          <a:xfrm>
            <a:off x="7168092" y="4111099"/>
            <a:ext cx="541866" cy="541866"/>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bg1"/>
                </a:solidFill>
              </a:rPr>
              <a:t>4</a:t>
            </a:r>
          </a:p>
        </p:txBody>
      </p:sp>
      <p:cxnSp>
        <p:nvCxnSpPr>
          <p:cNvPr id="241" name="Straight Connector 240">
            <a:extLst>
              <a:ext uri="{FF2B5EF4-FFF2-40B4-BE49-F238E27FC236}">
                <a16:creationId xmlns:a16="http://schemas.microsoft.com/office/drawing/2014/main" id="{1C233873-5E51-4FDE-AE18-0D4B7D6B7700}"/>
              </a:ext>
            </a:extLst>
          </p:cNvPr>
          <p:cNvCxnSpPr>
            <a:cxnSpLocks/>
          </p:cNvCxnSpPr>
          <p:nvPr/>
        </p:nvCxnSpPr>
        <p:spPr bwMode="gray">
          <a:xfrm>
            <a:off x="528423" y="3023756"/>
            <a:ext cx="0" cy="1157627"/>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C5328E6-6E94-448D-BDB9-90C174AFEE69}"/>
              </a:ext>
            </a:extLst>
          </p:cNvPr>
          <p:cNvCxnSpPr>
            <a:cxnSpLocks/>
          </p:cNvCxnSpPr>
          <p:nvPr/>
        </p:nvCxnSpPr>
        <p:spPr bwMode="gray">
          <a:xfrm>
            <a:off x="3130865" y="3023755"/>
            <a:ext cx="9841" cy="1077728"/>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FBA93B8E-9BE6-49FA-BA33-64C7195DD52C}"/>
              </a:ext>
            </a:extLst>
          </p:cNvPr>
          <p:cNvCxnSpPr>
            <a:cxnSpLocks/>
          </p:cNvCxnSpPr>
          <p:nvPr/>
        </p:nvCxnSpPr>
        <p:spPr bwMode="gray">
          <a:xfrm>
            <a:off x="5289865" y="3023754"/>
            <a:ext cx="0" cy="1077729"/>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3A08D279-EB45-4B0E-AEA8-6D6199A86014}"/>
              </a:ext>
            </a:extLst>
          </p:cNvPr>
          <p:cNvCxnSpPr>
            <a:cxnSpLocks/>
          </p:cNvCxnSpPr>
          <p:nvPr/>
        </p:nvCxnSpPr>
        <p:spPr bwMode="gray">
          <a:xfrm>
            <a:off x="7439025" y="3023754"/>
            <a:ext cx="6664" cy="1077729"/>
          </a:xfrm>
          <a:prstGeom prst="line">
            <a:avLst/>
          </a:prstGeom>
          <a:ln w="9525" cap="flat">
            <a:solidFill>
              <a:schemeClr val="bg2"/>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PROJECT ROADMAP</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17" name="Picture 16">
            <a:extLst>
              <a:ext uri="{FF2B5EF4-FFF2-40B4-BE49-F238E27FC236}">
                <a16:creationId xmlns:a16="http://schemas.microsoft.com/office/drawing/2014/main" id="{5666DCE4-2EFC-8EB4-F166-478C2D970BE2}"/>
              </a:ext>
            </a:extLst>
          </p:cNvPr>
          <p:cNvPicPr>
            <a:picLocks noChangeAspect="1"/>
          </p:cNvPicPr>
          <p:nvPr/>
        </p:nvPicPr>
        <p:blipFill>
          <a:blip r:embed="rId16"/>
          <a:stretch>
            <a:fillRect/>
          </a:stretch>
        </p:blipFill>
        <p:spPr>
          <a:xfrm>
            <a:off x="5562359" y="4768332"/>
            <a:ext cx="6042338" cy="1971711"/>
          </a:xfrm>
          <a:prstGeom prst="rect">
            <a:avLst/>
          </a:prstGeom>
        </p:spPr>
      </p:pic>
      <p:sp>
        <p:nvSpPr>
          <p:cNvPr id="18" name="Titel 3">
            <a:extLst>
              <a:ext uri="{FF2B5EF4-FFF2-40B4-BE49-F238E27FC236}">
                <a16:creationId xmlns:a16="http://schemas.microsoft.com/office/drawing/2014/main" id="{9ECBF4F5-2DD6-D69C-7BE9-EEBAEB1985FE}"/>
              </a:ext>
            </a:extLst>
          </p:cNvPr>
          <p:cNvSpPr txBox="1">
            <a:spLocks/>
          </p:cNvSpPr>
          <p:nvPr/>
        </p:nvSpPr>
        <p:spPr>
          <a:xfrm>
            <a:off x="371816" y="4812028"/>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sz="2400" dirty="0"/>
              <a:t>PROJECT PLANNING</a:t>
            </a:r>
          </a:p>
        </p:txBody>
      </p:sp>
      <p:sp>
        <p:nvSpPr>
          <p:cNvPr id="19" name="Text Placeholder 12">
            <a:extLst>
              <a:ext uri="{FF2B5EF4-FFF2-40B4-BE49-F238E27FC236}">
                <a16:creationId xmlns:a16="http://schemas.microsoft.com/office/drawing/2014/main" id="{648CED10-7171-0D0A-8DFB-9505654866DF}"/>
              </a:ext>
            </a:extLst>
          </p:cNvPr>
          <p:cNvSpPr txBox="1">
            <a:spLocks/>
          </p:cNvSpPr>
          <p:nvPr/>
        </p:nvSpPr>
        <p:spPr>
          <a:xfrm>
            <a:off x="386613" y="5187475"/>
            <a:ext cx="3865794" cy="1133426"/>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12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e project has 4 months in duration. That’s starting from 15 January 2023 to 15 May 2023. This table below illustrate the project planning and listing the tasks from A to Z.</a:t>
            </a:r>
            <a:endParaRPr lang="en-US" sz="1200" dirty="0">
              <a:effectLst/>
              <a:latin typeface="Calibri" panose="020F0502020204030204" pitchFamily="34" charset="0"/>
              <a:ea typeface="Calibri" panose="020F0502020204030204" pitchFamily="34" charset="0"/>
              <a:cs typeface="DaunPenh" panose="01010101010101010101" pitchFamily="2" charset="0"/>
            </a:endParaRPr>
          </a:p>
          <a:p>
            <a:endParaRPr lang="en-US" sz="1200" dirty="0"/>
          </a:p>
        </p:txBody>
      </p:sp>
    </p:spTree>
    <p:extLst>
      <p:ext uri="{BB962C8B-B14F-4D97-AF65-F5344CB8AC3E}">
        <p14:creationId xmlns:p14="http://schemas.microsoft.com/office/powerpoint/2010/main" val="380592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3B212-F10D-EFE6-B6CF-6EC1B98DB0ED}"/>
              </a:ext>
            </a:extLst>
          </p:cNvPr>
          <p:cNvSpPr>
            <a:spLocks noGrp="1"/>
          </p:cNvSpPr>
          <p:nvPr>
            <p:ph type="title"/>
          </p:nvPr>
        </p:nvSpPr>
        <p:spPr>
          <a:xfrm>
            <a:off x="5442012" y="911108"/>
            <a:ext cx="5147297" cy="4161341"/>
          </a:xfrm>
        </p:spPr>
        <p:txBody>
          <a:bodyPr/>
          <a:lstStyle/>
          <a:p>
            <a:r>
              <a:rPr lang="de-DE" sz="5000" spc="600" dirty="0"/>
              <a:t>DATA COLLECTION</a:t>
            </a:r>
          </a:p>
        </p:txBody>
      </p:sp>
      <p:pic>
        <p:nvPicPr>
          <p:cNvPr id="4" name="Picture Placeholder 9" descr="A close-up of some leaves&#10;&#10;Description automatically generated with medium confidence">
            <a:extLst>
              <a:ext uri="{FF2B5EF4-FFF2-40B4-BE49-F238E27FC236}">
                <a16:creationId xmlns:a16="http://schemas.microsoft.com/office/drawing/2014/main" id="{D973DFBE-1DE0-11CF-78C1-BB3DA30EBB7A}"/>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a:stretch>
            <a:fillRect/>
          </a:stretch>
        </p:blipFill>
        <p:spPr/>
      </p:pic>
      <p:sp>
        <p:nvSpPr>
          <p:cNvPr id="5" name="Slide Number Placeholder 4">
            <a:extLst>
              <a:ext uri="{FF2B5EF4-FFF2-40B4-BE49-F238E27FC236}">
                <a16:creationId xmlns:a16="http://schemas.microsoft.com/office/drawing/2014/main" id="{8FE607D3-8DEA-63F7-707F-1F96B3A83709}"/>
              </a:ext>
            </a:extLst>
          </p:cNvPr>
          <p:cNvSpPr>
            <a:spLocks noGrp="1"/>
          </p:cNvSpPr>
          <p:nvPr>
            <p:ph type="sldNum" sz="quarter" idx="4"/>
          </p:nvPr>
        </p:nvSpPr>
        <p:spPr/>
        <p:txBody>
          <a:bodyPr/>
          <a:lstStyle/>
          <a:p>
            <a:fld id="{F7D798F7-A0AD-A14E-8CE9-57071D50F00B}" type="slidenum">
              <a:rPr lang="de-DE"/>
              <a:pPr/>
              <a:t>16</a:t>
            </a:fld>
            <a:endParaRPr lang="de-DE"/>
          </a:p>
        </p:txBody>
      </p:sp>
    </p:spTree>
    <p:extLst>
      <p:ext uri="{BB962C8B-B14F-4D97-AF65-F5344CB8AC3E}">
        <p14:creationId xmlns:p14="http://schemas.microsoft.com/office/powerpoint/2010/main" val="1164123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92911" y="35463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2275" y="3230880"/>
            <a:ext cx="805641" cy="928992"/>
          </a:xfrm>
          <a:prstGeom prst="rect">
            <a:avLst/>
          </a:prstGeom>
        </p:spPr>
      </p:pic>
      <p:pic>
        <p:nvPicPr>
          <p:cNvPr id="10" name="Picture 9">
            <a:extLst>
              <a:ext uri="{FF2B5EF4-FFF2-40B4-BE49-F238E27FC236}">
                <a16:creationId xmlns:a16="http://schemas.microsoft.com/office/drawing/2014/main" id="{566BCB2F-7880-F135-B2C9-1976FF607D81}"/>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319536" y="5408438"/>
            <a:ext cx="873540" cy="943114"/>
          </a:xfrm>
          <a:prstGeom prst="rect">
            <a:avLst/>
          </a:prstGeom>
        </p:spPr>
      </p:pic>
      <p:pic>
        <p:nvPicPr>
          <p:cNvPr id="11" name="Picture 10">
            <a:extLst>
              <a:ext uri="{FF2B5EF4-FFF2-40B4-BE49-F238E27FC236}">
                <a16:creationId xmlns:a16="http://schemas.microsoft.com/office/drawing/2014/main" id="{18ACC618-B595-D285-55D8-47EC607EFE8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356830" y="2399168"/>
            <a:ext cx="1118942" cy="1009893"/>
          </a:xfrm>
          <a:prstGeom prst="rect">
            <a:avLst/>
          </a:prstGeom>
        </p:spPr>
      </p:pic>
      <p:pic>
        <p:nvPicPr>
          <p:cNvPr id="12" name="Picture 11">
            <a:extLst>
              <a:ext uri="{FF2B5EF4-FFF2-40B4-BE49-F238E27FC236}">
                <a16:creationId xmlns:a16="http://schemas.microsoft.com/office/drawing/2014/main" id="{9733FDD4-BF56-9565-AE91-5FF520C5116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352021" y="3230880"/>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4327453" y="4170006"/>
            <a:ext cx="1373133" cy="338554"/>
          </a:xfrm>
          <a:prstGeom prst="rect">
            <a:avLst/>
          </a:prstGeom>
          <a:noFill/>
        </p:spPr>
        <p:txBody>
          <a:bodyPr wrap="none" rtlCol="0">
            <a:spAutoFit/>
          </a:bodyPr>
          <a:lstStyle/>
          <a:p>
            <a:r>
              <a:rPr lang="en-US" sz="1600" dirty="0"/>
              <a:t>Staging Server</a:t>
            </a:r>
          </a:p>
        </p:txBody>
      </p:sp>
      <p:sp>
        <p:nvSpPr>
          <p:cNvPr id="15" name="TextBox 14">
            <a:extLst>
              <a:ext uri="{FF2B5EF4-FFF2-40B4-BE49-F238E27FC236}">
                <a16:creationId xmlns:a16="http://schemas.microsoft.com/office/drawing/2014/main" id="{41129864-9CF4-7EB1-A53B-A35EC781DEEA}"/>
              </a:ext>
            </a:extLst>
          </p:cNvPr>
          <p:cNvSpPr txBox="1"/>
          <p:nvPr/>
        </p:nvSpPr>
        <p:spPr>
          <a:xfrm>
            <a:off x="6182205" y="4170006"/>
            <a:ext cx="1204304" cy="338554"/>
          </a:xfrm>
          <a:prstGeom prst="rect">
            <a:avLst/>
          </a:prstGeom>
          <a:noFill/>
        </p:spPr>
        <p:txBody>
          <a:bodyPr wrap="none" rtlCol="0">
            <a:spAutoFit/>
          </a:bodyPr>
          <a:lstStyle>
            <a:defPPr>
              <a:defRPr lang="en-US"/>
            </a:defPPr>
            <a:lvl1pPr>
              <a:defRPr sz="1600"/>
            </a:lvl1pPr>
          </a:lstStyle>
          <a:p>
            <a:r>
              <a:rPr lang="en-US" dirty="0"/>
              <a:t>DWH Server</a:t>
            </a:r>
          </a:p>
        </p:txBody>
      </p:sp>
      <p:sp>
        <p:nvSpPr>
          <p:cNvPr id="16" name="TextBox 15">
            <a:extLst>
              <a:ext uri="{FF2B5EF4-FFF2-40B4-BE49-F238E27FC236}">
                <a16:creationId xmlns:a16="http://schemas.microsoft.com/office/drawing/2014/main" id="{52C67846-7462-E58F-88AA-344E6D07245E}"/>
              </a:ext>
            </a:extLst>
          </p:cNvPr>
          <p:cNvSpPr txBox="1"/>
          <p:nvPr/>
        </p:nvSpPr>
        <p:spPr>
          <a:xfrm>
            <a:off x="6149977" y="6374957"/>
            <a:ext cx="1140057" cy="338554"/>
          </a:xfrm>
          <a:prstGeom prst="rect">
            <a:avLst/>
          </a:prstGeom>
          <a:noFill/>
        </p:spPr>
        <p:txBody>
          <a:bodyPr wrap="none" rtlCol="0">
            <a:spAutoFit/>
          </a:bodyPr>
          <a:lstStyle/>
          <a:p>
            <a:r>
              <a:rPr lang="en-US" sz="1600" dirty="0"/>
              <a:t>OLAP Cube</a:t>
            </a:r>
          </a:p>
        </p:txBody>
      </p:sp>
      <p:sp>
        <p:nvSpPr>
          <p:cNvPr id="20" name="TextBox 19">
            <a:extLst>
              <a:ext uri="{FF2B5EF4-FFF2-40B4-BE49-F238E27FC236}">
                <a16:creationId xmlns:a16="http://schemas.microsoft.com/office/drawing/2014/main" id="{0D337DB3-1ACE-DFC8-D885-F85C7131123A}"/>
              </a:ext>
            </a:extLst>
          </p:cNvPr>
          <p:cNvSpPr txBox="1"/>
          <p:nvPr/>
        </p:nvSpPr>
        <p:spPr>
          <a:xfrm>
            <a:off x="8486147" y="3421574"/>
            <a:ext cx="924933" cy="338554"/>
          </a:xfrm>
          <a:prstGeom prst="rect">
            <a:avLst/>
          </a:prstGeom>
          <a:noFill/>
        </p:spPr>
        <p:txBody>
          <a:bodyPr wrap="none" rtlCol="0">
            <a:spAutoFit/>
          </a:bodyPr>
          <a:lstStyle/>
          <a:p>
            <a:r>
              <a:rPr lang="en-US" sz="1600" dirty="0"/>
              <a:t>Power BI</a:t>
            </a:r>
          </a:p>
        </p:txBody>
      </p:sp>
      <p:pic>
        <p:nvPicPr>
          <p:cNvPr id="21" name="Picture 20">
            <a:extLst>
              <a:ext uri="{FF2B5EF4-FFF2-40B4-BE49-F238E27FC236}">
                <a16:creationId xmlns:a16="http://schemas.microsoft.com/office/drawing/2014/main" id="{9EF69883-CECC-2402-6B22-B9E02B80B62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224412" y="1200003"/>
            <a:ext cx="1060855" cy="1158507"/>
          </a:xfrm>
          <a:prstGeom prst="rect">
            <a:avLst/>
          </a:prstGeom>
        </p:spPr>
      </p:pic>
      <p:pic>
        <p:nvPicPr>
          <p:cNvPr id="22" name="Picture 21">
            <a:extLst>
              <a:ext uri="{FF2B5EF4-FFF2-40B4-BE49-F238E27FC236}">
                <a16:creationId xmlns:a16="http://schemas.microsoft.com/office/drawing/2014/main" id="{87C47F9E-B094-197A-A570-BBFB350B799D}"/>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8465066" y="4044064"/>
            <a:ext cx="928992" cy="928992"/>
          </a:xfrm>
          <a:prstGeom prst="rect">
            <a:avLst/>
          </a:prstGeom>
        </p:spPr>
      </p:pic>
      <p:sp>
        <p:nvSpPr>
          <p:cNvPr id="23" name="TextBox 22">
            <a:extLst>
              <a:ext uri="{FF2B5EF4-FFF2-40B4-BE49-F238E27FC236}">
                <a16:creationId xmlns:a16="http://schemas.microsoft.com/office/drawing/2014/main" id="{C6E405F3-4CCE-3610-DDF1-75C4780A90AA}"/>
              </a:ext>
            </a:extLst>
          </p:cNvPr>
          <p:cNvSpPr txBox="1"/>
          <p:nvPr/>
        </p:nvSpPr>
        <p:spPr>
          <a:xfrm>
            <a:off x="8646190" y="4925618"/>
            <a:ext cx="604846" cy="338554"/>
          </a:xfrm>
          <a:prstGeom prst="rect">
            <a:avLst/>
          </a:prstGeom>
          <a:noFill/>
        </p:spPr>
        <p:txBody>
          <a:bodyPr wrap="none" rtlCol="0">
            <a:spAutoFit/>
          </a:bodyPr>
          <a:lstStyle/>
          <a:p>
            <a:r>
              <a:rPr lang="en-US" sz="1600" dirty="0"/>
              <a:t>Excel</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814691" y="1811140"/>
            <a:ext cx="2756200" cy="4108663"/>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338554"/>
            </a:xfrm>
            <a:prstGeom prst="rect">
              <a:avLst/>
            </a:prstGeom>
            <a:noFill/>
          </p:spPr>
          <p:txBody>
            <a:bodyPr wrap="square" rtlCol="0">
              <a:spAutoFit/>
            </a:bodyPr>
            <a:lstStyle/>
            <a:p>
              <a:r>
                <a:rPr lang="en-US" sz="16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338554"/>
            </a:xfrm>
            <a:prstGeom prst="rect">
              <a:avLst/>
            </a:prstGeom>
            <a:noFill/>
          </p:spPr>
          <p:txBody>
            <a:bodyPr wrap="square" rtlCol="0">
              <a:spAutoFit/>
            </a:bodyPr>
            <a:lstStyle/>
            <a:p>
              <a:r>
                <a:rPr lang="en-US" sz="16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338554"/>
            </a:xfrm>
            <a:prstGeom prst="rect">
              <a:avLst/>
            </a:prstGeom>
            <a:noFill/>
          </p:spPr>
          <p:txBody>
            <a:bodyPr wrap="square" rtlCol="0">
              <a:spAutoFit/>
            </a:bodyPr>
            <a:lstStyle/>
            <a:p>
              <a:pPr algn="ctr"/>
              <a:r>
                <a:rPr lang="en-US" sz="16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338554"/>
            </a:xfrm>
            <a:prstGeom prst="rect">
              <a:avLst/>
            </a:prstGeom>
            <a:noFill/>
          </p:spPr>
          <p:txBody>
            <a:bodyPr wrap="square" rtlCol="0">
              <a:spAutoFit/>
            </a:bodyPr>
            <a:lstStyle/>
            <a:p>
              <a:r>
                <a:rPr lang="en-US" sz="16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338554"/>
            </a:xfrm>
            <a:prstGeom prst="rect">
              <a:avLst/>
            </a:prstGeom>
            <a:noFill/>
          </p:spPr>
          <p:txBody>
            <a:bodyPr wrap="square" rtlCol="0">
              <a:spAutoFit/>
            </a:bodyPr>
            <a:lstStyle/>
            <a:p>
              <a:r>
                <a:rPr lang="en-US" sz="16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Arrow: Right 35">
            <a:extLst>
              <a:ext uri="{FF2B5EF4-FFF2-40B4-BE49-F238E27FC236}">
                <a16:creationId xmlns:a16="http://schemas.microsoft.com/office/drawing/2014/main" id="{AD15B592-02EE-9EA2-9CE0-667922F19B55}"/>
              </a:ext>
            </a:extLst>
          </p:cNvPr>
          <p:cNvSpPr/>
          <p:nvPr/>
        </p:nvSpPr>
        <p:spPr>
          <a:xfrm>
            <a:off x="3820238" y="3751497"/>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8E607640-FC82-EC9A-A0E3-0703EA584FB4}"/>
              </a:ext>
            </a:extLst>
          </p:cNvPr>
          <p:cNvSpPr/>
          <p:nvPr/>
        </p:nvSpPr>
        <p:spPr>
          <a:xfrm>
            <a:off x="5611346" y="3738195"/>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Right 37">
            <a:extLst>
              <a:ext uri="{FF2B5EF4-FFF2-40B4-BE49-F238E27FC236}">
                <a16:creationId xmlns:a16="http://schemas.microsoft.com/office/drawing/2014/main" id="{D8DCF604-7FF8-22C0-5534-CD5E1FD40ECA}"/>
              </a:ext>
            </a:extLst>
          </p:cNvPr>
          <p:cNvSpPr/>
          <p:nvPr/>
        </p:nvSpPr>
        <p:spPr>
          <a:xfrm rot="5400000">
            <a:off x="6475537" y="4857090"/>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Arrow: Right 38">
            <a:extLst>
              <a:ext uri="{FF2B5EF4-FFF2-40B4-BE49-F238E27FC236}">
                <a16:creationId xmlns:a16="http://schemas.microsoft.com/office/drawing/2014/main" id="{7AC2E41B-CC29-476A-483F-886CFD120AB9}"/>
              </a:ext>
            </a:extLst>
          </p:cNvPr>
          <p:cNvSpPr/>
          <p:nvPr/>
        </p:nvSpPr>
        <p:spPr>
          <a:xfrm rot="16200000">
            <a:off x="6475538" y="267996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Right 39">
            <a:extLst>
              <a:ext uri="{FF2B5EF4-FFF2-40B4-BE49-F238E27FC236}">
                <a16:creationId xmlns:a16="http://schemas.microsoft.com/office/drawing/2014/main" id="{98991FCE-026B-2B71-221D-DEFA0645640C}"/>
              </a:ext>
            </a:extLst>
          </p:cNvPr>
          <p:cNvSpPr/>
          <p:nvPr/>
        </p:nvSpPr>
        <p:spPr>
          <a:xfrm>
            <a:off x="7405108" y="3738193"/>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descr="Users with solid fill">
            <a:extLst>
              <a:ext uri="{FF2B5EF4-FFF2-40B4-BE49-F238E27FC236}">
                <a16:creationId xmlns:a16="http://schemas.microsoft.com/office/drawing/2014/main" id="{89E0C420-8ED6-54FF-AC27-41549CD703D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12056" y="3339228"/>
            <a:ext cx="914400" cy="914400"/>
          </a:xfrm>
          <a:prstGeom prst="rect">
            <a:avLst/>
          </a:prstGeom>
        </p:spPr>
      </p:pic>
      <p:sp>
        <p:nvSpPr>
          <p:cNvPr id="42" name="Arrow: Right 41">
            <a:extLst>
              <a:ext uri="{FF2B5EF4-FFF2-40B4-BE49-F238E27FC236}">
                <a16:creationId xmlns:a16="http://schemas.microsoft.com/office/drawing/2014/main" id="{595924B4-3591-8896-54A3-99A808966F83}"/>
              </a:ext>
            </a:extLst>
          </p:cNvPr>
          <p:cNvSpPr/>
          <p:nvPr/>
        </p:nvSpPr>
        <p:spPr>
          <a:xfrm>
            <a:off x="9766877" y="3738738"/>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row: Bent-Up 43">
            <a:extLst>
              <a:ext uri="{FF2B5EF4-FFF2-40B4-BE49-F238E27FC236}">
                <a16:creationId xmlns:a16="http://schemas.microsoft.com/office/drawing/2014/main" id="{81C17459-A04E-21FE-EB37-79E7005C29FA}"/>
              </a:ext>
            </a:extLst>
          </p:cNvPr>
          <p:cNvSpPr/>
          <p:nvPr/>
        </p:nvSpPr>
        <p:spPr>
          <a:xfrm flipV="1">
            <a:off x="7520522" y="157417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Arrow: Bent-Up 44">
            <a:extLst>
              <a:ext uri="{FF2B5EF4-FFF2-40B4-BE49-F238E27FC236}">
                <a16:creationId xmlns:a16="http://schemas.microsoft.com/office/drawing/2014/main" id="{8140E231-1EDA-9578-6C88-AE7E8444A4A6}"/>
              </a:ext>
            </a:extLst>
          </p:cNvPr>
          <p:cNvSpPr/>
          <p:nvPr/>
        </p:nvSpPr>
        <p:spPr>
          <a:xfrm>
            <a:off x="7520522" y="5488348"/>
            <a:ext cx="1555630" cy="473923"/>
          </a:xfrm>
          <a:prstGeom prst="ben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15D5F002-3449-51D4-6FF4-6BB8D3036D45}"/>
              </a:ext>
            </a:extLst>
          </p:cNvPr>
          <p:cNvSpPr/>
          <p:nvPr/>
        </p:nvSpPr>
        <p:spPr>
          <a:xfrm>
            <a:off x="8170798" y="2277557"/>
            <a:ext cx="1555630" cy="3098703"/>
          </a:xfrm>
          <a:prstGeom prst="roundRect">
            <a:avLst/>
          </a:prstGeom>
          <a:noFill/>
          <a:ln w="19050"/>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7" name="TextBox 46">
            <a:extLst>
              <a:ext uri="{FF2B5EF4-FFF2-40B4-BE49-F238E27FC236}">
                <a16:creationId xmlns:a16="http://schemas.microsoft.com/office/drawing/2014/main" id="{CDA847C3-DF80-8A48-E446-E7521DA59513}"/>
              </a:ext>
            </a:extLst>
          </p:cNvPr>
          <p:cNvSpPr txBox="1"/>
          <p:nvPr/>
        </p:nvSpPr>
        <p:spPr>
          <a:xfrm>
            <a:off x="10683761" y="4111627"/>
            <a:ext cx="647613" cy="338554"/>
          </a:xfrm>
          <a:prstGeom prst="rect">
            <a:avLst/>
          </a:prstGeom>
          <a:noFill/>
        </p:spPr>
        <p:txBody>
          <a:bodyPr wrap="none" rtlCol="0">
            <a:spAutoFit/>
          </a:bodyPr>
          <a:lstStyle/>
          <a:p>
            <a:r>
              <a:rPr lang="en-US" sz="1600"/>
              <a:t>Users</a:t>
            </a:r>
          </a:p>
        </p:txBody>
      </p:sp>
      <p:sp>
        <p:nvSpPr>
          <p:cNvPr id="48" name="Rectangle: Rounded Corners 47">
            <a:extLst>
              <a:ext uri="{FF2B5EF4-FFF2-40B4-BE49-F238E27FC236}">
                <a16:creationId xmlns:a16="http://schemas.microsoft.com/office/drawing/2014/main" id="{458E4B34-9CE1-0019-64BD-BD9275F86EE8}"/>
              </a:ext>
            </a:extLst>
          </p:cNvPr>
          <p:cNvSpPr/>
          <p:nvPr/>
        </p:nvSpPr>
        <p:spPr>
          <a:xfrm>
            <a:off x="3746285" y="1732157"/>
            <a:ext cx="2397856" cy="861079"/>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ETL Tool (Optional)</a:t>
            </a:r>
          </a:p>
          <a:p>
            <a:pPr algn="ctr"/>
            <a:r>
              <a:rPr lang="en-US" sz="1200" dirty="0">
                <a:solidFill>
                  <a:schemeClr val="tx1"/>
                </a:solidFill>
              </a:rPr>
              <a:t>SSIS or Azure Factory</a:t>
            </a:r>
          </a:p>
        </p:txBody>
      </p:sp>
      <p:cxnSp>
        <p:nvCxnSpPr>
          <p:cNvPr id="49" name="Connector: Elbow 48">
            <a:extLst>
              <a:ext uri="{FF2B5EF4-FFF2-40B4-BE49-F238E27FC236}">
                <a16:creationId xmlns:a16="http://schemas.microsoft.com/office/drawing/2014/main" id="{F1352309-5335-CB7F-96FA-ADD2F5AA395A}"/>
              </a:ext>
            </a:extLst>
          </p:cNvPr>
          <p:cNvCxnSpPr>
            <a:cxnSpLocks/>
            <a:stCxn id="36" idx="0"/>
            <a:endCxn id="48" idx="2"/>
          </p:cNvCxnSpPr>
          <p:nvPr/>
        </p:nvCxnSpPr>
        <p:spPr>
          <a:xfrm rot="5400000" flipH="1" flipV="1">
            <a:off x="4024500" y="2830785"/>
            <a:ext cx="1158261" cy="683165"/>
          </a:xfrm>
          <a:prstGeom prst="bentConnector3">
            <a:avLst>
              <a:gd name="adj1" fmla="val 50000"/>
            </a:avLst>
          </a:prstGeom>
          <a:ln w="19050"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90514" y="5417918"/>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4222776" y="6357044"/>
            <a:ext cx="1560555" cy="338554"/>
          </a:xfrm>
          <a:prstGeom prst="rect">
            <a:avLst/>
          </a:prstGeom>
          <a:noFill/>
        </p:spPr>
        <p:txBody>
          <a:bodyPr wrap="none" lIns="91440" tIns="45720" rIns="91440" bIns="45720" rtlCol="0" anchor="t">
            <a:spAutoFit/>
          </a:bodyPr>
          <a:lstStyle>
            <a:defPPr>
              <a:defRPr lang="en-US"/>
            </a:defPPr>
            <a:lvl1pPr>
              <a:defRPr sz="1600"/>
            </a:lvl1pPr>
          </a:lstStyle>
          <a:p>
            <a:r>
              <a:rPr lang="en-US" dirty="0" err="1"/>
              <a:t>Staging_Archive</a:t>
            </a:r>
            <a:r>
              <a:rPr lang="en-US" dirty="0">
                <a:ea typeface="+mn-lt"/>
                <a:cs typeface="+mn-lt"/>
              </a:rPr>
              <a:t> </a:t>
            </a:r>
            <a:endParaRPr lang="en-US" dirty="0"/>
          </a:p>
        </p:txBody>
      </p:sp>
      <p:sp>
        <p:nvSpPr>
          <p:cNvPr id="52" name="Arrow: Right 51">
            <a:extLst>
              <a:ext uri="{FF2B5EF4-FFF2-40B4-BE49-F238E27FC236}">
                <a16:creationId xmlns:a16="http://schemas.microsoft.com/office/drawing/2014/main" id="{04F7D391-EDD6-CBB2-C5B5-2C12C26FAEC5}"/>
              </a:ext>
            </a:extLst>
          </p:cNvPr>
          <p:cNvSpPr/>
          <p:nvPr/>
        </p:nvSpPr>
        <p:spPr>
          <a:xfrm rot="5400000">
            <a:off x="4720696" y="4777286"/>
            <a:ext cx="558609" cy="233598"/>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C0830C9B-A823-8465-965B-8FED1C8F4DC6}"/>
              </a:ext>
            </a:extLst>
          </p:cNvPr>
          <p:cNvSpPr/>
          <p:nvPr/>
        </p:nvSpPr>
        <p:spPr>
          <a:xfrm>
            <a:off x="819178" y="1254165"/>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spTree>
    <p:extLst>
      <p:ext uri="{BB962C8B-B14F-4D97-AF65-F5344CB8AC3E}">
        <p14:creationId xmlns:p14="http://schemas.microsoft.com/office/powerpoint/2010/main" val="228884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pic>
        <p:nvPicPr>
          <p:cNvPr id="9" name="Picture 8">
            <a:extLst>
              <a:ext uri="{FF2B5EF4-FFF2-40B4-BE49-F238E27FC236}">
                <a16:creationId xmlns:a16="http://schemas.microsoft.com/office/drawing/2014/main" id="{BF1C81EF-1290-703C-D456-62D1E5DD74A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11219" y="3144879"/>
            <a:ext cx="805641" cy="928992"/>
          </a:xfrm>
          <a:prstGeom prst="rect">
            <a:avLst/>
          </a:prstGeom>
        </p:spPr>
      </p:pic>
      <p:sp>
        <p:nvSpPr>
          <p:cNvPr id="14" name="TextBox 13">
            <a:extLst>
              <a:ext uri="{FF2B5EF4-FFF2-40B4-BE49-F238E27FC236}">
                <a16:creationId xmlns:a16="http://schemas.microsoft.com/office/drawing/2014/main" id="{388CAE5D-30C6-B3FC-DCA6-F3BBF9746C2C}"/>
              </a:ext>
            </a:extLst>
          </p:cNvPr>
          <p:cNvSpPr txBox="1"/>
          <p:nvPr/>
        </p:nvSpPr>
        <p:spPr>
          <a:xfrm>
            <a:off x="5028846" y="4084005"/>
            <a:ext cx="808234" cy="523220"/>
          </a:xfrm>
          <a:prstGeom prst="rect">
            <a:avLst/>
          </a:prstGeom>
          <a:noFill/>
        </p:spPr>
        <p:txBody>
          <a:bodyPr wrap="none" rtlCol="0">
            <a:spAutoFit/>
          </a:bodyPr>
          <a:lstStyle/>
          <a:p>
            <a:r>
              <a:rPr lang="en-US" sz="1400" dirty="0"/>
              <a:t>Staging </a:t>
            </a:r>
          </a:p>
          <a:p>
            <a:r>
              <a:rPr lang="en-US" sz="1400" dirty="0"/>
              <a:t>Server</a:t>
            </a:r>
          </a:p>
        </p:txBody>
      </p:sp>
      <p:grpSp>
        <p:nvGrpSpPr>
          <p:cNvPr id="24" name="Group 23">
            <a:extLst>
              <a:ext uri="{FF2B5EF4-FFF2-40B4-BE49-F238E27FC236}">
                <a16:creationId xmlns:a16="http://schemas.microsoft.com/office/drawing/2014/main" id="{7014BE07-7597-720B-E330-B697577FB88C}"/>
              </a:ext>
            </a:extLst>
          </p:cNvPr>
          <p:cNvGrpSpPr/>
          <p:nvPr/>
        </p:nvGrpSpPr>
        <p:grpSpPr>
          <a:xfrm>
            <a:off x="610505" y="1888886"/>
            <a:ext cx="2756200" cy="4119695"/>
            <a:chOff x="448639" y="1107142"/>
            <a:chExt cx="2756200" cy="4108663"/>
          </a:xfrm>
        </p:grpSpPr>
        <p:pic>
          <p:nvPicPr>
            <p:cNvPr id="25" name="Picture 24">
              <a:extLst>
                <a:ext uri="{FF2B5EF4-FFF2-40B4-BE49-F238E27FC236}">
                  <a16:creationId xmlns:a16="http://schemas.microsoft.com/office/drawing/2014/main" id="{11835CD2-07A6-40B1-5DEF-8DDE136D5DA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09699" y="1161539"/>
              <a:ext cx="985947" cy="98594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06AEB80-EDE0-20F0-2066-1DA98BDE67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6523" y="3950945"/>
              <a:ext cx="1544996" cy="520159"/>
            </a:xfrm>
            <a:prstGeom prst="rect">
              <a:avLst/>
            </a:prstGeom>
          </p:spPr>
        </p:pic>
        <p:pic>
          <p:nvPicPr>
            <p:cNvPr id="27" name="Picture 26" descr="A picture containing text, clipart, sign&#10;&#10;Description automatically generated">
              <a:extLst>
                <a:ext uri="{FF2B5EF4-FFF2-40B4-BE49-F238E27FC236}">
                  <a16:creationId xmlns:a16="http://schemas.microsoft.com/office/drawing/2014/main" id="{62BDDA82-03FB-3DA2-A731-92B4D6127E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9623" y="1282572"/>
              <a:ext cx="940117" cy="646331"/>
            </a:xfrm>
            <a:prstGeom prst="rect">
              <a:avLst/>
            </a:prstGeom>
          </p:spPr>
        </p:pic>
        <p:pic>
          <p:nvPicPr>
            <p:cNvPr id="28" name="Picture 27" descr="Icon&#10;&#10;Description automatically generated">
              <a:extLst>
                <a:ext uri="{FF2B5EF4-FFF2-40B4-BE49-F238E27FC236}">
                  <a16:creationId xmlns:a16="http://schemas.microsoft.com/office/drawing/2014/main" id="{A3713589-B76E-C7DD-3A52-01974FF6916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9557" y="2705063"/>
              <a:ext cx="736638" cy="723937"/>
            </a:xfrm>
            <a:prstGeom prst="rect">
              <a:avLst/>
            </a:prstGeom>
          </p:spPr>
        </p:pic>
        <p:pic>
          <p:nvPicPr>
            <p:cNvPr id="29" name="Picture 28" descr="A picture containing text, clipart&#10;&#10;Description automatically generated">
              <a:extLst>
                <a:ext uri="{FF2B5EF4-FFF2-40B4-BE49-F238E27FC236}">
                  <a16:creationId xmlns:a16="http://schemas.microsoft.com/office/drawing/2014/main" id="{9F12AF40-3FEE-2631-8DA1-22048329F8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99623" y="2858833"/>
              <a:ext cx="1159066" cy="422262"/>
            </a:xfrm>
            <a:prstGeom prst="rect">
              <a:avLst/>
            </a:prstGeom>
          </p:spPr>
        </p:pic>
        <p:sp>
          <p:nvSpPr>
            <p:cNvPr id="30" name="TextBox 29">
              <a:extLst>
                <a:ext uri="{FF2B5EF4-FFF2-40B4-BE49-F238E27FC236}">
                  <a16:creationId xmlns:a16="http://schemas.microsoft.com/office/drawing/2014/main" id="{29BC8092-237F-564C-458D-70A4E9A97202}"/>
                </a:ext>
              </a:extLst>
            </p:cNvPr>
            <p:cNvSpPr txBox="1"/>
            <p:nvPr/>
          </p:nvSpPr>
          <p:spPr>
            <a:xfrm>
              <a:off x="595465" y="2076462"/>
              <a:ext cx="873444" cy="276257"/>
            </a:xfrm>
            <a:prstGeom prst="rect">
              <a:avLst/>
            </a:prstGeom>
            <a:noFill/>
          </p:spPr>
          <p:txBody>
            <a:bodyPr wrap="square" rtlCol="0">
              <a:spAutoFit/>
            </a:bodyPr>
            <a:lstStyle/>
            <a:p>
              <a:r>
                <a:rPr lang="en-US" sz="1200" dirty="0"/>
                <a:t>Flat file</a:t>
              </a:r>
            </a:p>
          </p:txBody>
        </p:sp>
        <p:sp>
          <p:nvSpPr>
            <p:cNvPr id="31" name="TextBox 30">
              <a:extLst>
                <a:ext uri="{FF2B5EF4-FFF2-40B4-BE49-F238E27FC236}">
                  <a16:creationId xmlns:a16="http://schemas.microsoft.com/office/drawing/2014/main" id="{98EC672A-C9E6-8BAE-D614-9008C1705CC3}"/>
                </a:ext>
              </a:extLst>
            </p:cNvPr>
            <p:cNvSpPr txBox="1"/>
            <p:nvPr/>
          </p:nvSpPr>
          <p:spPr>
            <a:xfrm>
              <a:off x="2119863" y="2076462"/>
              <a:ext cx="599844" cy="276257"/>
            </a:xfrm>
            <a:prstGeom prst="rect">
              <a:avLst/>
            </a:prstGeom>
            <a:noFill/>
          </p:spPr>
          <p:txBody>
            <a:bodyPr wrap="square" rtlCol="0">
              <a:spAutoFit/>
            </a:bodyPr>
            <a:lstStyle/>
            <a:p>
              <a:r>
                <a:rPr lang="en-US" sz="1200" dirty="0"/>
                <a:t>SEM</a:t>
              </a:r>
            </a:p>
          </p:txBody>
        </p:sp>
        <p:sp>
          <p:nvSpPr>
            <p:cNvPr id="32" name="TextBox 31">
              <a:extLst>
                <a:ext uri="{FF2B5EF4-FFF2-40B4-BE49-F238E27FC236}">
                  <a16:creationId xmlns:a16="http://schemas.microsoft.com/office/drawing/2014/main" id="{24AE1EA5-90F4-ED4A-26F5-D5D4FCA436E0}"/>
                </a:ext>
              </a:extLst>
            </p:cNvPr>
            <p:cNvSpPr txBox="1"/>
            <p:nvPr/>
          </p:nvSpPr>
          <p:spPr>
            <a:xfrm>
              <a:off x="699557" y="4489827"/>
              <a:ext cx="2304511" cy="276257"/>
            </a:xfrm>
            <a:prstGeom prst="rect">
              <a:avLst/>
            </a:prstGeom>
            <a:noFill/>
          </p:spPr>
          <p:txBody>
            <a:bodyPr wrap="square" rtlCol="0">
              <a:spAutoFit/>
            </a:bodyPr>
            <a:lstStyle/>
            <a:p>
              <a:pPr algn="ctr"/>
              <a:r>
                <a:rPr lang="en-US" sz="1200" dirty="0"/>
                <a:t>Dynamics NAV 2015 (DIS)</a:t>
              </a:r>
            </a:p>
          </p:txBody>
        </p:sp>
        <p:sp>
          <p:nvSpPr>
            <p:cNvPr id="33" name="TextBox 32">
              <a:extLst>
                <a:ext uri="{FF2B5EF4-FFF2-40B4-BE49-F238E27FC236}">
                  <a16:creationId xmlns:a16="http://schemas.microsoft.com/office/drawing/2014/main" id="{E8649FCE-DA4B-C63C-6FF0-B2C840563AD7}"/>
                </a:ext>
              </a:extLst>
            </p:cNvPr>
            <p:cNvSpPr txBox="1"/>
            <p:nvPr/>
          </p:nvSpPr>
          <p:spPr>
            <a:xfrm>
              <a:off x="448639" y="3430023"/>
              <a:ext cx="1520481" cy="276257"/>
            </a:xfrm>
            <a:prstGeom prst="rect">
              <a:avLst/>
            </a:prstGeom>
            <a:noFill/>
          </p:spPr>
          <p:txBody>
            <a:bodyPr wrap="square" rtlCol="0">
              <a:spAutoFit/>
            </a:bodyPr>
            <a:lstStyle/>
            <a:p>
              <a:r>
                <a:rPr lang="en-US" sz="1200" dirty="0"/>
                <a:t>DOT (Tich Tos)</a:t>
              </a:r>
            </a:p>
          </p:txBody>
        </p:sp>
        <p:sp>
          <p:nvSpPr>
            <p:cNvPr id="34" name="TextBox 33">
              <a:extLst>
                <a:ext uri="{FF2B5EF4-FFF2-40B4-BE49-F238E27FC236}">
                  <a16:creationId xmlns:a16="http://schemas.microsoft.com/office/drawing/2014/main" id="{EE429CAE-8BF3-F066-4F98-C8BD1B19F2B1}"/>
                </a:ext>
              </a:extLst>
            </p:cNvPr>
            <p:cNvSpPr txBox="1"/>
            <p:nvPr/>
          </p:nvSpPr>
          <p:spPr>
            <a:xfrm>
              <a:off x="1997061" y="3407629"/>
              <a:ext cx="1007007" cy="276257"/>
            </a:xfrm>
            <a:prstGeom prst="rect">
              <a:avLst/>
            </a:prstGeom>
            <a:noFill/>
          </p:spPr>
          <p:txBody>
            <a:bodyPr wrap="square" rtlCol="0">
              <a:spAutoFit/>
            </a:bodyPr>
            <a:lstStyle/>
            <a:p>
              <a:r>
                <a:rPr lang="en-US" sz="1200" dirty="0"/>
                <a:t>Base JDE</a:t>
              </a:r>
            </a:p>
          </p:txBody>
        </p:sp>
        <p:sp>
          <p:nvSpPr>
            <p:cNvPr id="35" name="Rectangle 34">
              <a:extLst>
                <a:ext uri="{FF2B5EF4-FFF2-40B4-BE49-F238E27FC236}">
                  <a16:creationId xmlns:a16="http://schemas.microsoft.com/office/drawing/2014/main" id="{339CD3C1-6B19-57FC-135E-C420A6E6FBB5}"/>
                </a:ext>
              </a:extLst>
            </p:cNvPr>
            <p:cNvSpPr/>
            <p:nvPr/>
          </p:nvSpPr>
          <p:spPr>
            <a:xfrm>
              <a:off x="452761" y="1107142"/>
              <a:ext cx="2752078" cy="410866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6" name="Arrow: Right 35">
            <a:extLst>
              <a:ext uri="{FF2B5EF4-FFF2-40B4-BE49-F238E27FC236}">
                <a16:creationId xmlns:a16="http://schemas.microsoft.com/office/drawing/2014/main" id="{AD15B592-02EE-9EA2-9CE0-667922F19B55}"/>
              </a:ext>
            </a:extLst>
          </p:cNvPr>
          <p:cNvSpPr/>
          <p:nvPr/>
        </p:nvSpPr>
        <p:spPr>
          <a:xfrm>
            <a:off x="3516754" y="349109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descr="Icon&#10;&#10;Description automatically generated">
            <a:extLst>
              <a:ext uri="{FF2B5EF4-FFF2-40B4-BE49-F238E27FC236}">
                <a16:creationId xmlns:a16="http://schemas.microsoft.com/office/drawing/2014/main" id="{09ED17A7-187B-792F-1F6E-961906B9097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001506" y="4544260"/>
            <a:ext cx="805641" cy="928992"/>
          </a:xfrm>
          <a:prstGeom prst="rect">
            <a:avLst/>
          </a:prstGeom>
        </p:spPr>
      </p:pic>
      <p:sp>
        <p:nvSpPr>
          <p:cNvPr id="51" name="TextBox 50">
            <a:extLst>
              <a:ext uri="{FF2B5EF4-FFF2-40B4-BE49-F238E27FC236}">
                <a16:creationId xmlns:a16="http://schemas.microsoft.com/office/drawing/2014/main" id="{104AA0CC-FDDA-2ADA-3BDB-A6E047237F43}"/>
              </a:ext>
            </a:extLst>
          </p:cNvPr>
          <p:cNvSpPr txBox="1"/>
          <p:nvPr/>
        </p:nvSpPr>
        <p:spPr>
          <a:xfrm>
            <a:off x="5023554" y="5483386"/>
            <a:ext cx="780983" cy="523220"/>
          </a:xfrm>
          <a:prstGeom prst="rect">
            <a:avLst/>
          </a:prstGeom>
          <a:noFill/>
        </p:spPr>
        <p:txBody>
          <a:bodyPr wrap="none" lIns="91440" tIns="45720" rIns="91440" bIns="45720" rtlCol="0" anchor="t">
            <a:spAutoFit/>
          </a:bodyPr>
          <a:lstStyle>
            <a:defPPr>
              <a:defRPr lang="en-US"/>
            </a:defPPr>
            <a:lvl1pPr>
              <a:defRPr sz="1600"/>
            </a:lvl1pPr>
          </a:lstStyle>
          <a:p>
            <a:r>
              <a:rPr lang="en-US" sz="1400" dirty="0"/>
              <a:t>Staging</a:t>
            </a:r>
          </a:p>
          <a:p>
            <a:r>
              <a:rPr lang="en-US" sz="1400" dirty="0"/>
              <a:t>Archive</a:t>
            </a:r>
            <a:r>
              <a:rPr lang="en-US" sz="1400" dirty="0">
                <a:ea typeface="+mn-lt"/>
                <a:cs typeface="+mn-lt"/>
              </a:rPr>
              <a:t> </a:t>
            </a:r>
            <a:endParaRPr lang="en-US" sz="1400" dirty="0"/>
          </a:p>
        </p:txBody>
      </p:sp>
      <p:sp>
        <p:nvSpPr>
          <p:cNvPr id="62" name="Rectangle 61">
            <a:extLst>
              <a:ext uri="{FF2B5EF4-FFF2-40B4-BE49-F238E27FC236}">
                <a16:creationId xmlns:a16="http://schemas.microsoft.com/office/drawing/2014/main" id="{C0830C9B-A823-8465-965B-8FED1C8F4DC6}"/>
              </a:ext>
            </a:extLst>
          </p:cNvPr>
          <p:cNvSpPr/>
          <p:nvPr/>
        </p:nvSpPr>
        <p:spPr>
          <a:xfrm>
            <a:off x="614992" y="1133049"/>
            <a:ext cx="2751713"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Source / Source System</a:t>
            </a:r>
            <a:endParaRPr lang="en-US" sz="1400" b="1" dirty="0">
              <a:ea typeface="Calibri" panose="020F0502020204030204" pitchFamily="34" charset="0"/>
              <a:cs typeface="DaunPenh" panose="01010101010101010101" pitchFamily="2" charset="0"/>
            </a:endParaRPr>
          </a:p>
        </p:txBody>
      </p:sp>
      <p:pic>
        <p:nvPicPr>
          <p:cNvPr id="58" name="Picture 14" descr="SQL Server Logo - LogoDix">
            <a:extLst>
              <a:ext uri="{FF2B5EF4-FFF2-40B4-BE49-F238E27FC236}">
                <a16:creationId xmlns:a16="http://schemas.microsoft.com/office/drawing/2014/main" id="{54285FF7-DA70-B78F-0272-6C61DA077B4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85529" y="1888886"/>
            <a:ext cx="694867" cy="75669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45330BCF-91B9-3BAA-10DE-5CE014D15438}"/>
              </a:ext>
            </a:extLst>
          </p:cNvPr>
          <p:cNvSpPr txBox="1"/>
          <p:nvPr/>
        </p:nvSpPr>
        <p:spPr>
          <a:xfrm>
            <a:off x="5123897" y="2669862"/>
            <a:ext cx="567783" cy="523220"/>
          </a:xfrm>
          <a:prstGeom prst="rect">
            <a:avLst/>
          </a:prstGeom>
          <a:noFill/>
        </p:spPr>
        <p:txBody>
          <a:bodyPr wrap="none" rtlCol="0">
            <a:spAutoFit/>
          </a:bodyPr>
          <a:lstStyle/>
          <a:p>
            <a:r>
              <a:rPr lang="en-US" sz="1400" dirty="0"/>
              <a:t>SSIS </a:t>
            </a:r>
          </a:p>
          <a:p>
            <a:r>
              <a:rPr lang="en-US" sz="1400" dirty="0"/>
              <a:t>ETL</a:t>
            </a:r>
          </a:p>
        </p:txBody>
      </p:sp>
      <p:sp>
        <p:nvSpPr>
          <p:cNvPr id="60" name="Rectangle 59">
            <a:extLst>
              <a:ext uri="{FF2B5EF4-FFF2-40B4-BE49-F238E27FC236}">
                <a16:creationId xmlns:a16="http://schemas.microsoft.com/office/drawing/2014/main" id="{4CBE2AD4-5F64-EC2F-41E4-FDB72A634D35}"/>
              </a:ext>
            </a:extLst>
          </p:cNvPr>
          <p:cNvSpPr/>
          <p:nvPr/>
        </p:nvSpPr>
        <p:spPr>
          <a:xfrm>
            <a:off x="4660247" y="170164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61" name="Rectangle 60">
            <a:extLst>
              <a:ext uri="{FF2B5EF4-FFF2-40B4-BE49-F238E27FC236}">
                <a16:creationId xmlns:a16="http://schemas.microsoft.com/office/drawing/2014/main" id="{7AA1EB47-C58D-92E4-270E-AACF64797946}"/>
              </a:ext>
            </a:extLst>
          </p:cNvPr>
          <p:cNvSpPr/>
          <p:nvPr/>
        </p:nvSpPr>
        <p:spPr>
          <a:xfrm>
            <a:off x="4660248" y="114232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Integration</a:t>
            </a:r>
            <a:endParaRPr lang="en-US" sz="1400" b="1" dirty="0">
              <a:ea typeface="Calibri" panose="020F0502020204030204" pitchFamily="34" charset="0"/>
              <a:cs typeface="DaunPenh" panose="01010101010101010101" pitchFamily="2" charset="0"/>
            </a:endParaRPr>
          </a:p>
        </p:txBody>
      </p:sp>
      <p:pic>
        <p:nvPicPr>
          <p:cNvPr id="63" name="Picture 62">
            <a:extLst>
              <a:ext uri="{FF2B5EF4-FFF2-40B4-BE49-F238E27FC236}">
                <a16:creationId xmlns:a16="http://schemas.microsoft.com/office/drawing/2014/main" id="{2606C88F-B675-A3D2-2F88-4F740F0CE70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1783861"/>
            <a:ext cx="805641" cy="928992"/>
          </a:xfrm>
          <a:prstGeom prst="rect">
            <a:avLst/>
          </a:prstGeom>
        </p:spPr>
      </p:pic>
      <p:sp>
        <p:nvSpPr>
          <p:cNvPr id="64" name="TextBox 63">
            <a:extLst>
              <a:ext uri="{FF2B5EF4-FFF2-40B4-BE49-F238E27FC236}">
                <a16:creationId xmlns:a16="http://schemas.microsoft.com/office/drawing/2014/main" id="{1DB7810C-484B-FA6A-4802-704E9CFF88FB}"/>
              </a:ext>
            </a:extLst>
          </p:cNvPr>
          <p:cNvSpPr txBox="1"/>
          <p:nvPr/>
        </p:nvSpPr>
        <p:spPr>
          <a:xfrm>
            <a:off x="7736140" y="2720529"/>
            <a:ext cx="1160895" cy="307777"/>
          </a:xfrm>
          <a:prstGeom prst="rect">
            <a:avLst/>
          </a:prstGeom>
          <a:noFill/>
        </p:spPr>
        <p:txBody>
          <a:bodyPr wrap="none" rtlCol="0">
            <a:spAutoFit/>
          </a:bodyPr>
          <a:lstStyle/>
          <a:p>
            <a:r>
              <a:rPr lang="en-US" sz="1400" dirty="0"/>
              <a:t>DWH_HCAM</a:t>
            </a:r>
          </a:p>
        </p:txBody>
      </p:sp>
      <p:sp>
        <p:nvSpPr>
          <p:cNvPr id="65" name="Arrow: Right 64">
            <a:extLst>
              <a:ext uri="{FF2B5EF4-FFF2-40B4-BE49-F238E27FC236}">
                <a16:creationId xmlns:a16="http://schemas.microsoft.com/office/drawing/2014/main" id="{1C305A3B-4605-7164-8B86-D9AF44264621}"/>
              </a:ext>
            </a:extLst>
          </p:cNvPr>
          <p:cNvSpPr/>
          <p:nvPr/>
        </p:nvSpPr>
        <p:spPr>
          <a:xfrm>
            <a:off x="6384855" y="3489368"/>
            <a:ext cx="993444" cy="454863"/>
          </a:xfrm>
          <a:prstGeom prst="right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descr="Icon&#10;&#10;Description automatically generated">
            <a:extLst>
              <a:ext uri="{FF2B5EF4-FFF2-40B4-BE49-F238E27FC236}">
                <a16:creationId xmlns:a16="http://schemas.microsoft.com/office/drawing/2014/main" id="{5D00FC7E-5A56-42D9-0F70-971791ED03E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885129" y="3180784"/>
            <a:ext cx="805641" cy="928992"/>
          </a:xfrm>
          <a:prstGeom prst="rect">
            <a:avLst/>
          </a:prstGeom>
        </p:spPr>
      </p:pic>
      <p:sp>
        <p:nvSpPr>
          <p:cNvPr id="67" name="TextBox 66">
            <a:extLst>
              <a:ext uri="{FF2B5EF4-FFF2-40B4-BE49-F238E27FC236}">
                <a16:creationId xmlns:a16="http://schemas.microsoft.com/office/drawing/2014/main" id="{5A03BB4C-3C0F-E535-3DC4-49030D36A070}"/>
              </a:ext>
            </a:extLst>
          </p:cNvPr>
          <p:cNvSpPr txBox="1"/>
          <p:nvPr/>
        </p:nvSpPr>
        <p:spPr>
          <a:xfrm>
            <a:off x="7536884" y="4119910"/>
            <a:ext cx="1521571"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OutletMasterSEM</a:t>
            </a:r>
          </a:p>
        </p:txBody>
      </p:sp>
      <p:sp>
        <p:nvSpPr>
          <p:cNvPr id="70" name="Rectangle 69">
            <a:extLst>
              <a:ext uri="{FF2B5EF4-FFF2-40B4-BE49-F238E27FC236}">
                <a16:creationId xmlns:a16="http://schemas.microsoft.com/office/drawing/2014/main" id="{4A2D91F9-BBD6-64CD-FB9A-77161598FA08}"/>
              </a:ext>
            </a:extLst>
          </p:cNvPr>
          <p:cNvSpPr/>
          <p:nvPr/>
        </p:nvSpPr>
        <p:spPr>
          <a:xfrm>
            <a:off x="7528348" y="1699917"/>
            <a:ext cx="1555630" cy="4306689"/>
          </a:xfrm>
          <a:prstGeom prst="rect">
            <a:avLst/>
          </a:prstGeom>
          <a:no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
        <p:nvSpPr>
          <p:cNvPr id="71" name="Rectangle 70">
            <a:extLst>
              <a:ext uri="{FF2B5EF4-FFF2-40B4-BE49-F238E27FC236}">
                <a16:creationId xmlns:a16="http://schemas.microsoft.com/office/drawing/2014/main" id="{E5B27E03-92BF-926C-5E71-224A18AAF985}"/>
              </a:ext>
            </a:extLst>
          </p:cNvPr>
          <p:cNvSpPr/>
          <p:nvPr/>
        </p:nvSpPr>
        <p:spPr>
          <a:xfrm>
            <a:off x="7528349" y="1140599"/>
            <a:ext cx="15556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Data Warehouse</a:t>
            </a:r>
            <a:endParaRPr lang="en-US" sz="1400" b="1" dirty="0">
              <a:ea typeface="Calibri" panose="020F0502020204030204" pitchFamily="34" charset="0"/>
              <a:cs typeface="DaunPenh" panose="01010101010101010101" pitchFamily="2" charset="0"/>
            </a:endParaRPr>
          </a:p>
        </p:txBody>
      </p:sp>
      <p:pic>
        <p:nvPicPr>
          <p:cNvPr id="72" name="Picture 71" descr="Icon&#10;&#10;Description automatically generated">
            <a:extLst>
              <a:ext uri="{FF2B5EF4-FFF2-40B4-BE49-F238E27FC236}">
                <a16:creationId xmlns:a16="http://schemas.microsoft.com/office/drawing/2014/main" id="{D9CAF861-5F4A-6B7F-9CE0-0B0E0F64A51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7910652" y="4560570"/>
            <a:ext cx="805641" cy="928992"/>
          </a:xfrm>
          <a:prstGeom prst="rect">
            <a:avLst/>
          </a:prstGeom>
        </p:spPr>
      </p:pic>
      <p:sp>
        <p:nvSpPr>
          <p:cNvPr id="73" name="TextBox 72">
            <a:extLst>
              <a:ext uri="{FF2B5EF4-FFF2-40B4-BE49-F238E27FC236}">
                <a16:creationId xmlns:a16="http://schemas.microsoft.com/office/drawing/2014/main" id="{BEDC7E70-3BB5-7464-1A49-5C0437833733}"/>
              </a:ext>
            </a:extLst>
          </p:cNvPr>
          <p:cNvSpPr txBox="1"/>
          <p:nvPr/>
        </p:nvSpPr>
        <p:spPr>
          <a:xfrm>
            <a:off x="8091399" y="5499696"/>
            <a:ext cx="463589" cy="307777"/>
          </a:xfrm>
          <a:prstGeom prst="rect">
            <a:avLst/>
          </a:prstGeom>
          <a:noFill/>
        </p:spPr>
        <p:txBody>
          <a:bodyPr wrap="none" lIns="91440" tIns="45720" rIns="91440" bIns="45720" rtlCol="0" anchor="t">
            <a:spAutoFit/>
          </a:bodyPr>
          <a:lstStyle>
            <a:defPPr>
              <a:defRPr lang="en-US"/>
            </a:defPPr>
            <a:lvl1pPr>
              <a:defRPr sz="1600"/>
            </a:lvl1pPr>
          </a:lstStyle>
          <a:p>
            <a:r>
              <a:rPr lang="en-US" sz="1400" dirty="0"/>
              <a:t>DIS</a:t>
            </a:r>
          </a:p>
        </p:txBody>
      </p:sp>
    </p:spTree>
    <p:extLst>
      <p:ext uri="{BB962C8B-B14F-4D97-AF65-F5344CB8AC3E}">
        <p14:creationId xmlns:p14="http://schemas.microsoft.com/office/powerpoint/2010/main" val="288424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SEM</a:t>
            </a:r>
            <a:endParaRPr lang="en-US" sz="1100" b="1" dirty="0">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74297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F82B2D6-A098-428F-B29E-8A8B2A1FDA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2" progId="TCLayout.ActiveDocument.1">
                  <p:embed/>
                </p:oleObj>
              </mc:Choice>
              <mc:Fallback>
                <p:oleObj name="think-cell Slide" r:id="rId3" imgW="471" imgH="472" progId="TCLayout.ActiveDocument.1">
                  <p:embed/>
                  <p:pic>
                    <p:nvPicPr>
                      <p:cNvPr id="25" name="Object 24" hidden="1">
                        <a:extLst>
                          <a:ext uri="{FF2B5EF4-FFF2-40B4-BE49-F238E27FC236}">
                            <a16:creationId xmlns:a16="http://schemas.microsoft.com/office/drawing/2014/main" id="{2F82B2D6-A098-428F-B29E-8A8B2A1FDA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Freeform: Shape 23">
            <a:extLst>
              <a:ext uri="{FF2B5EF4-FFF2-40B4-BE49-F238E27FC236}">
                <a16:creationId xmlns:a16="http://schemas.microsoft.com/office/drawing/2014/main" id="{174BFD3C-C91C-447B-8FB7-9247936F241C}"/>
              </a:ext>
            </a:extLst>
          </p:cNvPr>
          <p:cNvSpPr/>
          <p:nvPr/>
        </p:nvSpPr>
        <p:spPr>
          <a:xfrm>
            <a:off x="1407354" y="5123323"/>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r>
              <a:rPr lang="it-IT" sz="2000" b="1" dirty="0">
                <a:solidFill>
                  <a:srgbClr val="000000"/>
                </a:solidFill>
                <a:latin typeface="+mj-lt"/>
                <a:cs typeface="Calibri" panose="020F0502020204030204" pitchFamily="34" charset="0"/>
              </a:rPr>
              <a:t>  	    TECHNOLOGY</a:t>
            </a:r>
            <a:endParaRPr lang="en-GB" sz="2000" b="1" dirty="0">
              <a:solidFill>
                <a:srgbClr val="000000"/>
              </a:solidFill>
              <a:latin typeface="+mj-lt"/>
              <a:cs typeface="Calibri" panose="020F0502020204030204" pitchFamily="34" charset="0"/>
            </a:endParaRPr>
          </a:p>
        </p:txBody>
      </p:sp>
      <p:sp>
        <p:nvSpPr>
          <p:cNvPr id="26" name="Oval 25">
            <a:extLst>
              <a:ext uri="{FF2B5EF4-FFF2-40B4-BE49-F238E27FC236}">
                <a16:creationId xmlns:a16="http://schemas.microsoft.com/office/drawing/2014/main" id="{7815324A-EF1F-4304-8093-6F01DCDE8F79}"/>
              </a:ext>
            </a:extLst>
          </p:cNvPr>
          <p:cNvSpPr/>
          <p:nvPr/>
        </p:nvSpPr>
        <p:spPr>
          <a:xfrm>
            <a:off x="1156945" y="5108477"/>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7" name="Oval 26">
            <a:extLst>
              <a:ext uri="{FF2B5EF4-FFF2-40B4-BE49-F238E27FC236}">
                <a16:creationId xmlns:a16="http://schemas.microsoft.com/office/drawing/2014/main" id="{C5D1750E-8D41-4699-9BFC-A3F6EAB051CC}"/>
              </a:ext>
            </a:extLst>
          </p:cNvPr>
          <p:cNvSpPr/>
          <p:nvPr/>
        </p:nvSpPr>
        <p:spPr>
          <a:xfrm>
            <a:off x="1192945" y="5144989"/>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a:t>
            </a:r>
          </a:p>
        </p:txBody>
      </p:sp>
      <p:sp>
        <p:nvSpPr>
          <p:cNvPr id="47" name="Freeform: Shape 46">
            <a:extLst>
              <a:ext uri="{FF2B5EF4-FFF2-40B4-BE49-F238E27FC236}">
                <a16:creationId xmlns:a16="http://schemas.microsoft.com/office/drawing/2014/main" id="{B818B4FA-BC3B-4BEF-BE7B-79D0A83A2964}"/>
              </a:ext>
            </a:extLst>
          </p:cNvPr>
          <p:cNvSpPr/>
          <p:nvPr/>
        </p:nvSpPr>
        <p:spPr>
          <a:xfrm>
            <a:off x="1335354" y="3295070"/>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kumimoji="0" lang="en-GB" sz="28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METHODOLOGY</a:t>
            </a:r>
            <a:endParaRPr lang="en-GB" sz="2000" b="1" dirty="0">
              <a:solidFill>
                <a:srgbClr val="000000"/>
              </a:solidFill>
              <a:latin typeface="+mj-lt"/>
              <a:cs typeface="Calibri" panose="020F0502020204030204" pitchFamily="34" charset="0"/>
            </a:endParaRPr>
          </a:p>
        </p:txBody>
      </p:sp>
      <p:sp>
        <p:nvSpPr>
          <p:cNvPr id="45" name="Oval 44">
            <a:extLst>
              <a:ext uri="{FF2B5EF4-FFF2-40B4-BE49-F238E27FC236}">
                <a16:creationId xmlns:a16="http://schemas.microsoft.com/office/drawing/2014/main" id="{CE9EE052-BC82-478F-920E-C365AC252908}"/>
              </a:ext>
            </a:extLst>
          </p:cNvPr>
          <p:cNvSpPr/>
          <p:nvPr/>
        </p:nvSpPr>
        <p:spPr>
          <a:xfrm>
            <a:off x="1120945" y="3273706"/>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6" name="Oval 45">
            <a:extLst>
              <a:ext uri="{FF2B5EF4-FFF2-40B4-BE49-F238E27FC236}">
                <a16:creationId xmlns:a16="http://schemas.microsoft.com/office/drawing/2014/main" id="{60D4DEFB-C502-4AC7-AFF2-4F02E6505E77}"/>
              </a:ext>
            </a:extLst>
          </p:cNvPr>
          <p:cNvSpPr/>
          <p:nvPr/>
        </p:nvSpPr>
        <p:spPr>
          <a:xfrm>
            <a:off x="1156945" y="331021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a:t>
            </a:r>
            <a:endParaRPr kumimoji="0" lang="en-GB"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 name="Freeform: Shape 40">
            <a:extLst>
              <a:ext uri="{FF2B5EF4-FFF2-40B4-BE49-F238E27FC236}">
                <a16:creationId xmlns:a16="http://schemas.microsoft.com/office/drawing/2014/main" id="{0BD4BFF0-7DC6-41D4-A424-5D2861F08E33}"/>
              </a:ext>
            </a:extLst>
          </p:cNvPr>
          <p:cNvSpPr/>
          <p:nvPr/>
        </p:nvSpPr>
        <p:spPr>
          <a:xfrm>
            <a:off x="1332969" y="23977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rgbClr val="C6EAC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            </a:t>
            </a:r>
            <a:r>
              <a:rPr lang="en-GB" sz="2000" b="1" kern="1200" dirty="0">
                <a:solidFill>
                  <a:srgbClr val="000000"/>
                </a:solidFill>
                <a:latin typeface="+mj-lt"/>
                <a:cs typeface="Calibri" panose="020F0502020204030204" pitchFamily="34" charset="0"/>
              </a:rPr>
              <a:t>HYPOTHESIS &amp; RESEARCH QUESTIONS</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5" name="Oval 4">
            <a:extLst>
              <a:ext uri="{FF2B5EF4-FFF2-40B4-BE49-F238E27FC236}">
                <a16:creationId xmlns:a16="http://schemas.microsoft.com/office/drawing/2014/main" id="{70993FD2-E5BA-478C-A0ED-C6BECF7055DA}"/>
              </a:ext>
            </a:extLst>
          </p:cNvPr>
          <p:cNvSpPr/>
          <p:nvPr/>
        </p:nvSpPr>
        <p:spPr>
          <a:xfrm>
            <a:off x="1120945" y="2357059"/>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0" name="Oval 39">
            <a:extLst>
              <a:ext uri="{FF2B5EF4-FFF2-40B4-BE49-F238E27FC236}">
                <a16:creationId xmlns:a16="http://schemas.microsoft.com/office/drawing/2014/main" id="{F331B591-ED56-428B-ADA6-A2B3C0C59471}"/>
              </a:ext>
            </a:extLst>
          </p:cNvPr>
          <p:cNvSpPr/>
          <p:nvPr/>
        </p:nvSpPr>
        <p:spPr>
          <a:xfrm>
            <a:off x="1156945" y="239357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a:t>
            </a:r>
            <a:endParaRPr kumimoji="0" lang="en-GB"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 name="Freeform: Shape 38">
            <a:extLst>
              <a:ext uri="{FF2B5EF4-FFF2-40B4-BE49-F238E27FC236}">
                <a16:creationId xmlns:a16="http://schemas.microsoft.com/office/drawing/2014/main" id="{3A40EE30-DBC2-45B8-B20A-C7B752D6F0DB}"/>
              </a:ext>
            </a:extLst>
          </p:cNvPr>
          <p:cNvSpPr/>
          <p:nvPr/>
        </p:nvSpPr>
        <p:spPr>
          <a:xfrm>
            <a:off x="1371354" y="4205199"/>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l">
              <a:defRPr/>
            </a:pPr>
            <a:r>
              <a:rPr lang="en-GB" b="1" dirty="0">
                <a:solidFill>
                  <a:srgbClr val="000000"/>
                </a:solidFill>
                <a:latin typeface="Calibri" panose="020F0502020204030204" pitchFamily="34" charset="0"/>
                <a:cs typeface="Calibri" panose="020F0502020204030204" pitchFamily="34" charset="0"/>
              </a:rPr>
              <a:t> 	    </a:t>
            </a:r>
            <a:r>
              <a:rPr lang="en-GB" sz="2000" b="1" dirty="0">
                <a:solidFill>
                  <a:srgbClr val="000000"/>
                </a:solidFill>
                <a:latin typeface="+mj-lt"/>
                <a:cs typeface="Calibri" panose="020F0502020204030204" pitchFamily="34" charset="0"/>
              </a:rPr>
              <a:t>PROJECT PLANNING</a:t>
            </a:r>
            <a:endPar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endParaRPr>
          </a:p>
        </p:txBody>
      </p:sp>
      <p:sp>
        <p:nvSpPr>
          <p:cNvPr id="42" name="Oval 41">
            <a:extLst>
              <a:ext uri="{FF2B5EF4-FFF2-40B4-BE49-F238E27FC236}">
                <a16:creationId xmlns:a16="http://schemas.microsoft.com/office/drawing/2014/main" id="{F7E9604F-5373-46FE-A6E4-F177E6F430BD}"/>
              </a:ext>
            </a:extLst>
          </p:cNvPr>
          <p:cNvSpPr/>
          <p:nvPr/>
        </p:nvSpPr>
        <p:spPr>
          <a:xfrm>
            <a:off x="1120945" y="4190353"/>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3" name="Oval 42">
            <a:extLst>
              <a:ext uri="{FF2B5EF4-FFF2-40B4-BE49-F238E27FC236}">
                <a16:creationId xmlns:a16="http://schemas.microsoft.com/office/drawing/2014/main" id="{62E07033-8CC9-409B-94B5-C96763880C3A}"/>
              </a:ext>
            </a:extLst>
          </p:cNvPr>
          <p:cNvSpPr/>
          <p:nvPr/>
        </p:nvSpPr>
        <p:spPr>
          <a:xfrm>
            <a:off x="1156945" y="4226865"/>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a:t>
            </a:r>
          </a:p>
        </p:txBody>
      </p:sp>
      <p:sp>
        <p:nvSpPr>
          <p:cNvPr id="37" name="Freeform: Shape 36">
            <a:extLst>
              <a:ext uri="{FF2B5EF4-FFF2-40B4-BE49-F238E27FC236}">
                <a16:creationId xmlns:a16="http://schemas.microsoft.com/office/drawing/2014/main" id="{26B3BF32-C308-41F7-8B6C-99B1ABD0DFA9}"/>
              </a:ext>
            </a:extLst>
          </p:cNvPr>
          <p:cNvSpPr/>
          <p:nvPr/>
        </p:nvSpPr>
        <p:spPr>
          <a:xfrm>
            <a:off x="1371354" y="1455258"/>
            <a:ext cx="8505434" cy="660924"/>
          </a:xfrm>
          <a:custGeom>
            <a:avLst/>
            <a:gdLst>
              <a:gd name="connsiteX0" fmla="*/ 0 w 4281975"/>
              <a:gd name="connsiteY0" fmla="*/ 0 h 689419"/>
              <a:gd name="connsiteX1" fmla="*/ 4276383 w 4281975"/>
              <a:gd name="connsiteY1" fmla="*/ 0 h 689419"/>
              <a:gd name="connsiteX2" fmla="*/ 4276383 w 4281975"/>
              <a:gd name="connsiteY2" fmla="*/ 635659 h 689419"/>
              <a:gd name="connsiteX3" fmla="*/ 4281975 w 4281975"/>
              <a:gd name="connsiteY3" fmla="*/ 689419 h 689419"/>
              <a:gd name="connsiteX4" fmla="*/ 0 w 4281975"/>
              <a:gd name="connsiteY4" fmla="*/ 689419 h 6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975" h="689419">
                <a:moveTo>
                  <a:pt x="0" y="0"/>
                </a:moveTo>
                <a:lnTo>
                  <a:pt x="4276383" y="0"/>
                </a:lnTo>
                <a:lnTo>
                  <a:pt x="4276383" y="635659"/>
                </a:lnTo>
                <a:lnTo>
                  <a:pt x="4281975" y="689419"/>
                </a:lnTo>
                <a:lnTo>
                  <a:pt x="0" y="689419"/>
                </a:lnTo>
                <a:close/>
              </a:path>
            </a:pathLst>
          </a:cu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4" algn="l">
              <a:defRPr/>
            </a:pPr>
            <a:r>
              <a:rPr kumimoji="0" lang="en-GB" sz="2000" b="0" i="0" u="none" strike="noStrike" kern="1200" cap="none" spc="0" normalizeH="0" baseline="0" noProof="0" dirty="0">
                <a:ln>
                  <a:noFill/>
                </a:ln>
                <a:solidFill>
                  <a:srgbClr val="FFFFFF"/>
                </a:solidFill>
                <a:effectLst/>
                <a:uLnTx/>
                <a:uFillTx/>
                <a:latin typeface="+mj-lt"/>
                <a:ea typeface="+mn-ea"/>
                <a:cs typeface="Calibri" panose="020F0502020204030204" pitchFamily="34" charset="0"/>
              </a:rPr>
              <a:t>    </a:t>
            </a:r>
            <a:r>
              <a:rPr kumimoji="0" lang="en-GB" sz="2000" b="1" i="0" u="none" strike="noStrike" kern="1200" cap="none" spc="0" normalizeH="0" baseline="0" noProof="0" dirty="0">
                <a:ln>
                  <a:noFill/>
                </a:ln>
                <a:solidFill>
                  <a:srgbClr val="000000"/>
                </a:solidFill>
                <a:effectLst/>
                <a:uLnTx/>
                <a:uFillTx/>
                <a:latin typeface="+mj-lt"/>
                <a:ea typeface="+mn-ea"/>
                <a:cs typeface="Calibri" panose="020F0502020204030204" pitchFamily="34" charset="0"/>
              </a:rPr>
              <a:t>PROJECT INTRODUCTION &amp; OBJECTIVE</a:t>
            </a:r>
          </a:p>
        </p:txBody>
      </p:sp>
      <p:sp>
        <p:nvSpPr>
          <p:cNvPr id="50" name="Oval 49">
            <a:extLst>
              <a:ext uri="{FF2B5EF4-FFF2-40B4-BE49-F238E27FC236}">
                <a16:creationId xmlns:a16="http://schemas.microsoft.com/office/drawing/2014/main" id="{E19136AD-B9E0-4137-AEBB-0C65466E6C68}"/>
              </a:ext>
            </a:extLst>
          </p:cNvPr>
          <p:cNvSpPr/>
          <p:nvPr/>
        </p:nvSpPr>
        <p:spPr>
          <a:xfrm>
            <a:off x="1120945" y="1440412"/>
            <a:ext cx="720000" cy="720000"/>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1" name="Oval 50">
            <a:extLst>
              <a:ext uri="{FF2B5EF4-FFF2-40B4-BE49-F238E27FC236}">
                <a16:creationId xmlns:a16="http://schemas.microsoft.com/office/drawing/2014/main" id="{C32A56F2-6EB0-466C-BA98-FB2A5CFA11A0}"/>
              </a:ext>
            </a:extLst>
          </p:cNvPr>
          <p:cNvSpPr/>
          <p:nvPr/>
        </p:nvSpPr>
        <p:spPr>
          <a:xfrm>
            <a:off x="1156945" y="1476924"/>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a:t>
            </a:r>
          </a:p>
        </p:txBody>
      </p:sp>
      <p:sp>
        <p:nvSpPr>
          <p:cNvPr id="2" name="Text Placeholder 1">
            <a:extLst>
              <a:ext uri="{FF2B5EF4-FFF2-40B4-BE49-F238E27FC236}">
                <a16:creationId xmlns:a16="http://schemas.microsoft.com/office/drawing/2014/main" id="{E97B9365-4FB2-4998-B196-87BE8AC611DC}"/>
              </a:ext>
            </a:extLst>
          </p:cNvPr>
          <p:cNvSpPr>
            <a:spLocks noGrp="1"/>
          </p:cNvSpPr>
          <p:nvPr>
            <p:ph type="body" sz="quarter" idx="16"/>
          </p:nvPr>
        </p:nvSpPr>
        <p:spPr>
          <a:xfrm>
            <a:off x="304800" y="152400"/>
            <a:ext cx="11799425" cy="464521"/>
          </a:xfrm>
        </p:spPr>
        <p:txBody>
          <a:bodyPr/>
          <a:lstStyle/>
          <a:p>
            <a:r>
              <a:rPr lang="en-GB" dirty="0">
                <a:latin typeface="Calibri" panose="020F0502020204030204" pitchFamily="34" charset="0"/>
                <a:cs typeface="Calibri" panose="020F0502020204030204" pitchFamily="34" charset="0"/>
              </a:rPr>
              <a:t>AGENDA</a:t>
            </a:r>
          </a:p>
        </p:txBody>
      </p:sp>
      <p:pic>
        <p:nvPicPr>
          <p:cNvPr id="21" name="Picture 16" descr="Image result for heineken bottle transparent">
            <a:extLst>
              <a:ext uri="{FF2B5EF4-FFF2-40B4-BE49-F238E27FC236}">
                <a16:creationId xmlns:a16="http://schemas.microsoft.com/office/drawing/2014/main" id="{A5579201-9C31-46EA-967C-13AF844BCCB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942" t="923" r="14376" b="4547"/>
          <a:stretch/>
        </p:blipFill>
        <p:spPr bwMode="auto">
          <a:xfrm>
            <a:off x="9312127" y="323557"/>
            <a:ext cx="1518169" cy="5730021"/>
          </a:xfrm>
          <a:prstGeom prst="rect">
            <a:avLst/>
          </a:prstGeom>
          <a:noFill/>
          <a:effectLst>
            <a:reflection blurRad="6350" stA="1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44" name="Slide Number Placeholder 2">
            <a:extLst>
              <a:ext uri="{FF2B5EF4-FFF2-40B4-BE49-F238E27FC236}">
                <a16:creationId xmlns:a16="http://schemas.microsoft.com/office/drawing/2014/main" id="{75ECDD93-4C27-47BB-92B0-60B003B954A7}"/>
              </a:ext>
            </a:extLst>
          </p:cNvPr>
          <p:cNvSpPr txBox="1">
            <a:spLocks/>
          </p:cNvSpPr>
          <p:nvPr/>
        </p:nvSpPr>
        <p:spPr bwMode="auto">
          <a:xfrm>
            <a:off x="463551" y="6314638"/>
            <a:ext cx="960967"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it-IT"/>
            </a:defPPr>
            <a:lvl1pPr marL="0" algn="l" defTabSz="914400" rtl="0" eaLnBrk="1" latinLnBrk="0" hangingPunct="1">
              <a:defRPr sz="1000" kern="1200">
                <a:solidFill>
                  <a:schemeClr val="bg1"/>
                </a:solidFill>
                <a:latin typeface="HEINEKEN Core" panose="0200050305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FCE829D-CFE5-4030-8F29-589686D67276}" type="slidenum">
              <a:rPr lang="en-GB" smtClean="0">
                <a:solidFill>
                  <a:srgbClr val="FFFFFF"/>
                </a:solidFill>
                <a:latin typeface="Calibri" panose="020F0502020204030204" pitchFamily="34" charset="0"/>
                <a:cs typeface="Calibri" panose="020F0502020204030204" pitchFamily="34" charset="0"/>
              </a:rPr>
              <a:pPr>
                <a:defRPr/>
              </a:pPr>
              <a:t>2</a:t>
            </a:fld>
            <a:endParaRPr lang="en-GB" dirty="0">
              <a:solidFill>
                <a:srgbClr val="FFFFFF"/>
              </a:solidFill>
              <a:latin typeface="Calibri" panose="020F0502020204030204" pitchFamily="34" charset="0"/>
              <a:cs typeface="Calibri" panose="020F0502020204030204" pitchFamily="34" charset="0"/>
            </a:endParaRPr>
          </a:p>
        </p:txBody>
      </p:sp>
      <p:sp>
        <p:nvSpPr>
          <p:cNvPr id="3" name="Titel 3">
            <a:extLst>
              <a:ext uri="{FF2B5EF4-FFF2-40B4-BE49-F238E27FC236}">
                <a16:creationId xmlns:a16="http://schemas.microsoft.com/office/drawing/2014/main" id="{F426DDA5-F46C-4CFE-526D-152E6692BF69}"/>
              </a:ext>
            </a:extLst>
          </p:cNvPr>
          <p:cNvSpPr txBox="1">
            <a:spLocks/>
          </p:cNvSpPr>
          <p:nvPr/>
        </p:nvSpPr>
        <p:spPr>
          <a:xfrm>
            <a:off x="847411" y="584027"/>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r>
              <a:rPr lang="nl-NL" dirty="0"/>
              <a:t>CONTENT OF TODAY</a:t>
            </a:r>
          </a:p>
        </p:txBody>
      </p:sp>
    </p:spTree>
    <p:extLst>
      <p:ext uri="{BB962C8B-B14F-4D97-AF65-F5344CB8AC3E}">
        <p14:creationId xmlns:p14="http://schemas.microsoft.com/office/powerpoint/2010/main" val="18880503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2" name="Rectangle 1">
            <a:extLst>
              <a:ext uri="{FF2B5EF4-FFF2-40B4-BE49-F238E27FC236}">
                <a16:creationId xmlns:a16="http://schemas.microsoft.com/office/drawing/2014/main" id="{82E916DE-D5D5-D727-5B85-18430424F92F}"/>
              </a:ext>
            </a:extLst>
          </p:cNvPr>
          <p:cNvSpPr/>
          <p:nvPr/>
        </p:nvSpPr>
        <p:spPr>
          <a:xfrm>
            <a:off x="5495369" y="2757902"/>
            <a:ext cx="2089030"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TPO &amp; Customer Targeting</a:t>
            </a:r>
            <a:endParaRPr lang="en-US" sz="1400" b="1" dirty="0">
              <a:ea typeface="Calibri" panose="020F0502020204030204" pitchFamily="34" charset="0"/>
              <a:cs typeface="DaunPenh" panose="01010101010101010101" pitchFamily="2" charset="0"/>
            </a:endParaRPr>
          </a:p>
        </p:txBody>
      </p:sp>
      <p:sp>
        <p:nvSpPr>
          <p:cNvPr id="4" name="Rectangle 3">
            <a:extLst>
              <a:ext uri="{FF2B5EF4-FFF2-40B4-BE49-F238E27FC236}">
                <a16:creationId xmlns:a16="http://schemas.microsoft.com/office/drawing/2014/main" id="{5BA3CD8F-30D4-6404-8130-8A976E62313A}"/>
              </a:ext>
            </a:extLst>
          </p:cNvPr>
          <p:cNvSpPr/>
          <p:nvPr/>
        </p:nvSpPr>
        <p:spPr>
          <a:xfrm>
            <a:off x="3579270" y="275738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ommercial Data</a:t>
            </a:r>
            <a:endParaRPr lang="en-US" sz="1100" b="1" dirty="0">
              <a:ea typeface="Calibri" panose="020F0502020204030204" pitchFamily="34" charset="0"/>
              <a:cs typeface="DaunPenh" panose="01010101010101010101" pitchFamily="2" charset="0"/>
            </a:endParaRPr>
          </a:p>
        </p:txBody>
      </p:sp>
      <p:sp>
        <p:nvSpPr>
          <p:cNvPr id="7" name="Rectangle 6">
            <a:extLst>
              <a:ext uri="{FF2B5EF4-FFF2-40B4-BE49-F238E27FC236}">
                <a16:creationId xmlns:a16="http://schemas.microsoft.com/office/drawing/2014/main" id="{93497556-A39E-C9F6-CA31-642D326E8228}"/>
              </a:ext>
            </a:extLst>
          </p:cNvPr>
          <p:cNvSpPr/>
          <p:nvPr/>
        </p:nvSpPr>
        <p:spPr>
          <a:xfrm>
            <a:off x="5839333" y="1942636"/>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Other Relevant Data</a:t>
            </a:r>
            <a:endParaRPr lang="en-US" sz="1100" b="1" dirty="0">
              <a:ea typeface="Calibri" panose="020F0502020204030204" pitchFamily="34" charset="0"/>
              <a:cs typeface="DaunPenh" panose="01010101010101010101" pitchFamily="2" charset="0"/>
            </a:endParaRPr>
          </a:p>
        </p:txBody>
      </p:sp>
      <p:sp>
        <p:nvSpPr>
          <p:cNvPr id="8" name="Rectangle 7">
            <a:extLst>
              <a:ext uri="{FF2B5EF4-FFF2-40B4-BE49-F238E27FC236}">
                <a16:creationId xmlns:a16="http://schemas.microsoft.com/office/drawing/2014/main" id="{4B0BD1B3-6589-271C-8A64-F78B6FC18E0C}"/>
              </a:ext>
            </a:extLst>
          </p:cNvPr>
          <p:cNvSpPr/>
          <p:nvPr/>
        </p:nvSpPr>
        <p:spPr>
          <a:xfrm>
            <a:off x="5839333"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Master Data</a:t>
            </a:r>
          </a:p>
        </p:txBody>
      </p:sp>
      <p:sp>
        <p:nvSpPr>
          <p:cNvPr id="10" name="Rectangle 9">
            <a:extLst>
              <a:ext uri="{FF2B5EF4-FFF2-40B4-BE49-F238E27FC236}">
                <a16:creationId xmlns:a16="http://schemas.microsoft.com/office/drawing/2014/main" id="{C41D776F-CBA1-7D80-6795-71FB18946218}"/>
              </a:ext>
            </a:extLst>
          </p:cNvPr>
          <p:cNvSpPr/>
          <p:nvPr/>
        </p:nvSpPr>
        <p:spPr>
          <a:xfrm>
            <a:off x="8099396" y="2757902"/>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ale Data</a:t>
            </a:r>
          </a:p>
        </p:txBody>
      </p:sp>
      <p:sp>
        <p:nvSpPr>
          <p:cNvPr id="11" name="Rectangle 10">
            <a:extLst>
              <a:ext uri="{FF2B5EF4-FFF2-40B4-BE49-F238E27FC236}">
                <a16:creationId xmlns:a16="http://schemas.microsoft.com/office/drawing/2014/main" id="{EE22FC85-1F41-F714-EBFE-84A3B7736281}"/>
              </a:ext>
            </a:extLst>
          </p:cNvPr>
          <p:cNvSpPr/>
          <p:nvPr/>
        </p:nvSpPr>
        <p:spPr>
          <a:xfrm>
            <a:off x="8093046" y="1934525"/>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Out</a:t>
            </a:r>
          </a:p>
        </p:txBody>
      </p:sp>
      <p:sp>
        <p:nvSpPr>
          <p:cNvPr id="12" name="Rectangle 11">
            <a:extLst>
              <a:ext uri="{FF2B5EF4-FFF2-40B4-BE49-F238E27FC236}">
                <a16:creationId xmlns:a16="http://schemas.microsoft.com/office/drawing/2014/main" id="{15345C60-208B-BA57-3184-D3C231BF9057}"/>
              </a:ext>
            </a:extLst>
          </p:cNvPr>
          <p:cNvSpPr/>
          <p:nvPr/>
        </p:nvSpPr>
        <p:spPr>
          <a:xfrm>
            <a:off x="8099396" y="3573168"/>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Sell In</a:t>
            </a:r>
          </a:p>
        </p:txBody>
      </p:sp>
      <p:sp>
        <p:nvSpPr>
          <p:cNvPr id="13" name="Rectangle 12">
            <a:extLst>
              <a:ext uri="{FF2B5EF4-FFF2-40B4-BE49-F238E27FC236}">
                <a16:creationId xmlns:a16="http://schemas.microsoft.com/office/drawing/2014/main" id="{178CC533-431A-047A-9701-144270640A84}"/>
              </a:ext>
            </a:extLst>
          </p:cNvPr>
          <p:cNvSpPr/>
          <p:nvPr/>
        </p:nvSpPr>
        <p:spPr>
          <a:xfrm>
            <a:off x="4980372" y="1091300"/>
            <a:ext cx="1401102"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Demand Forecasting</a:t>
            </a:r>
          </a:p>
        </p:txBody>
      </p:sp>
      <p:sp>
        <p:nvSpPr>
          <p:cNvPr id="15" name="Rectangle 14">
            <a:extLst>
              <a:ext uri="{FF2B5EF4-FFF2-40B4-BE49-F238E27FC236}">
                <a16:creationId xmlns:a16="http://schemas.microsoft.com/office/drawing/2014/main" id="{12800822-DBF9-48DF-0E3C-75DDBB1A562A}"/>
              </a:ext>
            </a:extLst>
          </p:cNvPr>
          <p:cNvSpPr/>
          <p:nvPr/>
        </p:nvSpPr>
        <p:spPr>
          <a:xfrm>
            <a:off x="2286019" y="2757902"/>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B2B</a:t>
            </a:r>
            <a:endParaRPr lang="en-US" sz="1100" b="1" dirty="0">
              <a:ea typeface="Calibri" panose="020F0502020204030204" pitchFamily="34" charset="0"/>
              <a:cs typeface="DaunPenh" panose="01010101010101010101" pitchFamily="2" charset="0"/>
            </a:endParaRPr>
          </a:p>
        </p:txBody>
      </p:sp>
      <p:sp>
        <p:nvSpPr>
          <p:cNvPr id="17" name="Rectangle 16">
            <a:extLst>
              <a:ext uri="{FF2B5EF4-FFF2-40B4-BE49-F238E27FC236}">
                <a16:creationId xmlns:a16="http://schemas.microsoft.com/office/drawing/2014/main" id="{D06714C0-8035-E29A-917B-16554B0B9F9B}"/>
              </a:ext>
            </a:extLst>
          </p:cNvPr>
          <p:cNvSpPr/>
          <p:nvPr/>
        </p:nvSpPr>
        <p:spPr>
          <a:xfrm>
            <a:off x="6150757"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Item Data</a:t>
            </a:r>
            <a:endParaRPr lang="en-US" sz="1100" b="1" dirty="0">
              <a:ea typeface="Calibri" panose="020F0502020204030204" pitchFamily="34" charset="0"/>
              <a:cs typeface="DaunPenh" panose="01010101010101010101" pitchFamily="2" charset="0"/>
            </a:endParaRPr>
          </a:p>
        </p:txBody>
      </p:sp>
      <p:sp>
        <p:nvSpPr>
          <p:cNvPr id="18" name="Rectangle 17">
            <a:extLst>
              <a:ext uri="{FF2B5EF4-FFF2-40B4-BE49-F238E27FC236}">
                <a16:creationId xmlns:a16="http://schemas.microsoft.com/office/drawing/2014/main" id="{E000606E-A990-AF2E-E803-68681E847B6C}"/>
              </a:ext>
            </a:extLst>
          </p:cNvPr>
          <p:cNvSpPr/>
          <p:nvPr/>
        </p:nvSpPr>
        <p:spPr>
          <a:xfrm>
            <a:off x="5061079" y="4388434"/>
            <a:ext cx="778254"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solidFill>
                <a:schemeClr val="tx2"/>
              </a:solidFill>
              <a:ea typeface="Calibri" panose="020F0502020204030204" pitchFamily="34" charset="0"/>
              <a:cs typeface="DaunPenh" panose="01010101010101010101" pitchFamily="2" charset="0"/>
            </a:endParaRPr>
          </a:p>
        </p:txBody>
      </p:sp>
      <p:sp>
        <p:nvSpPr>
          <p:cNvPr id="19" name="Rectangle 18">
            <a:extLst>
              <a:ext uri="{FF2B5EF4-FFF2-40B4-BE49-F238E27FC236}">
                <a16:creationId xmlns:a16="http://schemas.microsoft.com/office/drawing/2014/main" id="{60D138F8-BD91-04C7-D744-0F5268EF0EBB}"/>
              </a:ext>
            </a:extLst>
          </p:cNvPr>
          <p:cNvSpPr/>
          <p:nvPr/>
        </p:nvSpPr>
        <p:spPr>
          <a:xfrm>
            <a:off x="7240435" y="4388434"/>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gent Data</a:t>
            </a:r>
            <a:endParaRPr lang="en-US" sz="1100" b="1" dirty="0">
              <a:ea typeface="Calibri" panose="020F0502020204030204" pitchFamily="34" charset="0"/>
              <a:cs typeface="DaunPenh" panose="01010101010101010101" pitchFamily="2" charset="0"/>
            </a:endParaRPr>
          </a:p>
        </p:txBody>
      </p:sp>
      <p:sp>
        <p:nvSpPr>
          <p:cNvPr id="20" name="Rectangle 19">
            <a:extLst>
              <a:ext uri="{FF2B5EF4-FFF2-40B4-BE49-F238E27FC236}">
                <a16:creationId xmlns:a16="http://schemas.microsoft.com/office/drawing/2014/main" id="{999CBAD0-2146-0190-412F-3794E4AE91FE}"/>
              </a:ext>
            </a:extLst>
          </p:cNvPr>
          <p:cNvSpPr/>
          <p:nvPr/>
        </p:nvSpPr>
        <p:spPr>
          <a:xfrm>
            <a:off x="10048133" y="3573168"/>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a typeface="Calibri" panose="020F0502020204030204" pitchFamily="34" charset="0"/>
                <a:cs typeface="DaunPenh" panose="01010101010101010101" pitchFamily="2" charset="0"/>
              </a:rPr>
              <a:t>Financial Data, Base JDE</a:t>
            </a:r>
          </a:p>
        </p:txBody>
      </p:sp>
      <p:sp>
        <p:nvSpPr>
          <p:cNvPr id="21" name="Rectangle 20">
            <a:extLst>
              <a:ext uri="{FF2B5EF4-FFF2-40B4-BE49-F238E27FC236}">
                <a16:creationId xmlns:a16="http://schemas.microsoft.com/office/drawing/2014/main" id="{7339EDFD-58AC-9570-B3E5-09556D86891D}"/>
              </a:ext>
            </a:extLst>
          </p:cNvPr>
          <p:cNvSpPr/>
          <p:nvPr/>
        </p:nvSpPr>
        <p:spPr>
          <a:xfrm>
            <a:off x="10048133" y="1942636"/>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Agent, DIS</a:t>
            </a:r>
          </a:p>
        </p:txBody>
      </p:sp>
      <p:sp>
        <p:nvSpPr>
          <p:cNvPr id="22" name="Rectangle 21">
            <a:extLst>
              <a:ext uri="{FF2B5EF4-FFF2-40B4-BE49-F238E27FC236}">
                <a16:creationId xmlns:a16="http://schemas.microsoft.com/office/drawing/2014/main" id="{3D47F833-1B2F-9086-C1E8-53C90B977603}"/>
              </a:ext>
            </a:extLst>
          </p:cNvPr>
          <p:cNvSpPr/>
          <p:nvPr/>
        </p:nvSpPr>
        <p:spPr>
          <a:xfrm>
            <a:off x="10048133" y="4146015"/>
            <a:ext cx="1401102"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ea typeface="Calibri" panose="020F0502020204030204" pitchFamily="34" charset="0"/>
                <a:cs typeface="DaunPenh" panose="01010101010101010101" pitchFamily="2" charset="0"/>
              </a:rPr>
              <a:t>Order Received, DIS</a:t>
            </a:r>
          </a:p>
        </p:txBody>
      </p:sp>
      <p:sp>
        <p:nvSpPr>
          <p:cNvPr id="23" name="Rectangle 22">
            <a:extLst>
              <a:ext uri="{FF2B5EF4-FFF2-40B4-BE49-F238E27FC236}">
                <a16:creationId xmlns:a16="http://schemas.microsoft.com/office/drawing/2014/main" id="{37FDAD41-331F-B844-5C4E-75297F8CD6CC}"/>
              </a:ext>
            </a:extLst>
          </p:cNvPr>
          <p:cNvSpPr/>
          <p:nvPr/>
        </p:nvSpPr>
        <p:spPr>
          <a:xfrm>
            <a:off x="2250573" y="3330749"/>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Market Share</a:t>
            </a:r>
            <a:endParaRPr lang="en-US" sz="1100" b="1" dirty="0">
              <a:ea typeface="Calibri" panose="020F0502020204030204" pitchFamily="34" charset="0"/>
              <a:cs typeface="DaunPenh" panose="01010101010101010101" pitchFamily="2" charset="0"/>
            </a:endParaRPr>
          </a:p>
        </p:txBody>
      </p:sp>
      <p:sp>
        <p:nvSpPr>
          <p:cNvPr id="37" name="Rectangle 36">
            <a:extLst>
              <a:ext uri="{FF2B5EF4-FFF2-40B4-BE49-F238E27FC236}">
                <a16:creationId xmlns:a16="http://schemas.microsoft.com/office/drawing/2014/main" id="{07BEEF89-D708-908C-EE6B-ADC92B00C7C6}"/>
              </a:ext>
            </a:extLst>
          </p:cNvPr>
          <p:cNvSpPr/>
          <p:nvPr/>
        </p:nvSpPr>
        <p:spPr>
          <a:xfrm>
            <a:off x="816744" y="3309741"/>
            <a:ext cx="954277"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Promotion, DOT</a:t>
            </a:r>
            <a:endParaRPr lang="en-US" sz="1100" b="1" dirty="0">
              <a:solidFill>
                <a:schemeClr val="tx2"/>
              </a:solidFill>
              <a:ea typeface="Calibri" panose="020F0502020204030204" pitchFamily="34" charset="0"/>
              <a:cs typeface="DaunPenh" panose="01010101010101010101" pitchFamily="2" charset="0"/>
            </a:endParaRPr>
          </a:p>
        </p:txBody>
      </p:sp>
      <p:sp>
        <p:nvSpPr>
          <p:cNvPr id="38" name="Rectangle 37">
            <a:extLst>
              <a:ext uri="{FF2B5EF4-FFF2-40B4-BE49-F238E27FC236}">
                <a16:creationId xmlns:a16="http://schemas.microsoft.com/office/drawing/2014/main" id="{CE7960B9-1064-469B-3E24-9FCCCDD307C8}"/>
              </a:ext>
            </a:extLst>
          </p:cNvPr>
          <p:cNvSpPr/>
          <p:nvPr/>
        </p:nvSpPr>
        <p:spPr>
          <a:xfrm>
            <a:off x="6664171" y="1091300"/>
            <a:ext cx="1401102" cy="484838"/>
          </a:xfrm>
          <a:prstGeom prst="rect">
            <a:avLst/>
          </a:prstGeom>
          <a:solidFill>
            <a:srgbClr val="FFFF00"/>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TradeCensus, Market Survey</a:t>
            </a:r>
            <a:endParaRPr lang="en-US" sz="1100" b="1" dirty="0">
              <a:solidFill>
                <a:schemeClr val="tx1"/>
              </a:solidFill>
              <a:ea typeface="Calibri" panose="020F0502020204030204" pitchFamily="34" charset="0"/>
              <a:cs typeface="DaunPenh" panose="01010101010101010101" pitchFamily="2" charset="0"/>
            </a:endParaRPr>
          </a:p>
        </p:txBody>
      </p:sp>
      <p:sp>
        <p:nvSpPr>
          <p:cNvPr id="39" name="Rectangle 38">
            <a:extLst>
              <a:ext uri="{FF2B5EF4-FFF2-40B4-BE49-F238E27FC236}">
                <a16:creationId xmlns:a16="http://schemas.microsoft.com/office/drawing/2014/main" id="{397BCB01-5267-426A-18EB-9992804F49D0}"/>
              </a:ext>
            </a:extLst>
          </p:cNvPr>
          <p:cNvSpPr/>
          <p:nvPr/>
        </p:nvSpPr>
        <p:spPr>
          <a:xfrm>
            <a:off x="3998199" y="4387931"/>
            <a:ext cx="778254"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Vendor, Mendix</a:t>
            </a:r>
            <a:endParaRPr lang="en-US" sz="1100" b="1" dirty="0">
              <a:ea typeface="Calibri" panose="020F0502020204030204" pitchFamily="34" charset="0"/>
              <a:cs typeface="DaunPenh" panose="01010101010101010101" pitchFamily="2" charset="0"/>
            </a:endParaRPr>
          </a:p>
        </p:txBody>
      </p:sp>
      <p:sp>
        <p:nvSpPr>
          <p:cNvPr id="40" name="Rectangle 39">
            <a:extLst>
              <a:ext uri="{FF2B5EF4-FFF2-40B4-BE49-F238E27FC236}">
                <a16:creationId xmlns:a16="http://schemas.microsoft.com/office/drawing/2014/main" id="{25643728-370C-A91D-DDC2-6D3CEF4F76BA}"/>
              </a:ext>
            </a:extLst>
          </p:cNvPr>
          <p:cNvSpPr/>
          <p:nvPr/>
        </p:nvSpPr>
        <p:spPr>
          <a:xfrm>
            <a:off x="792582" y="2754317"/>
            <a:ext cx="971180"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Order Mgt</a:t>
            </a:r>
            <a:endParaRPr lang="en-US" sz="1100" b="1" dirty="0">
              <a:solidFill>
                <a:schemeClr val="tx2"/>
              </a:solidFill>
              <a:ea typeface="Calibri" panose="020F0502020204030204" pitchFamily="34" charset="0"/>
              <a:cs typeface="DaunPenh" panose="01010101010101010101" pitchFamily="2" charset="0"/>
            </a:endParaRPr>
          </a:p>
        </p:txBody>
      </p:sp>
      <p:sp>
        <p:nvSpPr>
          <p:cNvPr id="41" name="Rectangle 40">
            <a:extLst>
              <a:ext uri="{FF2B5EF4-FFF2-40B4-BE49-F238E27FC236}">
                <a16:creationId xmlns:a16="http://schemas.microsoft.com/office/drawing/2014/main" id="{7ECEB35B-0225-EB5A-D125-C820EC365CBA}"/>
              </a:ext>
            </a:extLst>
          </p:cNvPr>
          <p:cNvSpPr/>
          <p:nvPr/>
        </p:nvSpPr>
        <p:spPr>
          <a:xfrm>
            <a:off x="2286018" y="2110126"/>
            <a:ext cx="813699"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GlassRun</a:t>
            </a:r>
            <a:endParaRPr lang="en-US" sz="1100" b="1" dirty="0">
              <a:ea typeface="Calibri" panose="020F0502020204030204" pitchFamily="34" charset="0"/>
              <a:cs typeface="DaunPenh" panose="01010101010101010101" pitchFamily="2" charset="0"/>
            </a:endParaRPr>
          </a:p>
        </p:txBody>
      </p:sp>
      <p:sp>
        <p:nvSpPr>
          <p:cNvPr id="43" name="Rectangle 42">
            <a:extLst>
              <a:ext uri="{FF2B5EF4-FFF2-40B4-BE49-F238E27FC236}">
                <a16:creationId xmlns:a16="http://schemas.microsoft.com/office/drawing/2014/main" id="{2CA5FA03-92C6-4800-05D8-48E3FF580AA7}"/>
              </a:ext>
            </a:extLst>
          </p:cNvPr>
          <p:cNvSpPr/>
          <p:nvPr/>
        </p:nvSpPr>
        <p:spPr>
          <a:xfrm>
            <a:off x="809485" y="2103795"/>
            <a:ext cx="954276" cy="484838"/>
          </a:xfrm>
          <a:prstGeom prst="rect">
            <a:avLst/>
          </a:prstGeom>
          <a:solidFill>
            <a:schemeClr val="tx1"/>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2"/>
                </a:solidFill>
                <a:latin typeface="HEINEKEN Core" panose="02000503050000020004" pitchFamily="2" charset="0"/>
                <a:ea typeface="Calibri" panose="020F0502020204030204" pitchFamily="34" charset="0"/>
                <a:cs typeface="DaunPenh" panose="01010101010101010101" pitchFamily="2" charset="0"/>
              </a:rPr>
              <a:t>Inventory Mgt</a:t>
            </a:r>
            <a:endParaRPr lang="en-US" sz="1100" b="1" dirty="0">
              <a:solidFill>
                <a:schemeClr val="tx2"/>
              </a:solidFill>
              <a:ea typeface="Calibri" panose="020F0502020204030204" pitchFamily="34" charset="0"/>
              <a:cs typeface="DaunPenh" panose="01010101010101010101" pitchFamily="2" charset="0"/>
            </a:endParaRPr>
          </a:p>
        </p:txBody>
      </p:sp>
      <p:sp>
        <p:nvSpPr>
          <p:cNvPr id="44" name="Rectangle 43">
            <a:extLst>
              <a:ext uri="{FF2B5EF4-FFF2-40B4-BE49-F238E27FC236}">
                <a16:creationId xmlns:a16="http://schemas.microsoft.com/office/drawing/2014/main" id="{5AFCA3C8-0146-5B8A-54DE-FC9F7E41190A}"/>
              </a:ext>
            </a:extLst>
          </p:cNvPr>
          <p:cNvSpPr/>
          <p:nvPr/>
        </p:nvSpPr>
        <p:spPr>
          <a:xfrm>
            <a:off x="2250573" y="4036041"/>
            <a:ext cx="813699" cy="484838"/>
          </a:xfrm>
          <a:prstGeom prst="rect">
            <a:avLst/>
          </a:prstGeom>
          <a:solidFill>
            <a:schemeClr val="tx2"/>
          </a:solid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solidFill>
                  <a:schemeClr val="tx1"/>
                </a:solidFill>
                <a:latin typeface="HEINEKEN Core" panose="02000503050000020004" pitchFamily="2" charset="0"/>
                <a:ea typeface="Calibri" panose="020F0502020204030204" pitchFamily="34" charset="0"/>
                <a:cs typeface="DaunPenh" panose="01010101010101010101" pitchFamily="2" charset="0"/>
              </a:rPr>
              <a:t>SEM</a:t>
            </a:r>
            <a:endParaRPr lang="en-US" sz="1100" b="1" dirty="0">
              <a:solidFill>
                <a:schemeClr val="tx1"/>
              </a:solidFill>
              <a:ea typeface="Calibri" panose="020F0502020204030204" pitchFamily="34" charset="0"/>
              <a:cs typeface="DaunPenh" panose="01010101010101010101" pitchFamily="2" charset="0"/>
            </a:endParaRPr>
          </a:p>
        </p:txBody>
      </p:sp>
      <p:cxnSp>
        <p:nvCxnSpPr>
          <p:cNvPr id="46" name="Connector: Elbow 45">
            <a:extLst>
              <a:ext uri="{FF2B5EF4-FFF2-40B4-BE49-F238E27FC236}">
                <a16:creationId xmlns:a16="http://schemas.microsoft.com/office/drawing/2014/main" id="{602F906D-80C7-7D46-5BA1-BF7D0A0749FB}"/>
              </a:ext>
            </a:extLst>
          </p:cNvPr>
          <p:cNvCxnSpPr>
            <a:stCxn id="2" idx="1"/>
            <a:endCxn id="4" idx="3"/>
          </p:cNvCxnSpPr>
          <p:nvPr/>
        </p:nvCxnSpPr>
        <p:spPr>
          <a:xfrm rot="10800000">
            <a:off x="4980373" y="2999805"/>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49" name="Straight Connector 48">
            <a:extLst>
              <a:ext uri="{FF2B5EF4-FFF2-40B4-BE49-F238E27FC236}">
                <a16:creationId xmlns:a16="http://schemas.microsoft.com/office/drawing/2014/main" id="{7E9A6057-053C-9FC0-A8ED-20057A897CD7}"/>
              </a:ext>
            </a:extLst>
          </p:cNvPr>
          <p:cNvCxnSpPr>
            <a:stCxn id="2" idx="0"/>
            <a:endCxn id="7" idx="2"/>
          </p:cNvCxnSpPr>
          <p:nvPr/>
        </p:nvCxnSpPr>
        <p:spPr>
          <a:xfrm flipV="1">
            <a:off x="6539884" y="2427474"/>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5" name="Connector: Elbow 54">
            <a:extLst>
              <a:ext uri="{FF2B5EF4-FFF2-40B4-BE49-F238E27FC236}">
                <a16:creationId xmlns:a16="http://schemas.microsoft.com/office/drawing/2014/main" id="{8837F632-5276-16D2-A52F-ECA861077AD2}"/>
              </a:ext>
            </a:extLst>
          </p:cNvPr>
          <p:cNvCxnSpPr>
            <a:stCxn id="7" idx="0"/>
            <a:endCxn id="13" idx="2"/>
          </p:cNvCxnSpPr>
          <p:nvPr/>
        </p:nvCxnSpPr>
        <p:spPr>
          <a:xfrm rot="16200000" flipV="1">
            <a:off x="5927155" y="1329906"/>
            <a:ext cx="366498" cy="858961"/>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57" name="Connector: Elbow 56">
            <a:extLst>
              <a:ext uri="{FF2B5EF4-FFF2-40B4-BE49-F238E27FC236}">
                <a16:creationId xmlns:a16="http://schemas.microsoft.com/office/drawing/2014/main" id="{D28B75DC-A9CB-E728-E157-13918D5DC0B9}"/>
              </a:ext>
            </a:extLst>
          </p:cNvPr>
          <p:cNvCxnSpPr>
            <a:stCxn id="7" idx="0"/>
            <a:endCxn id="38" idx="2"/>
          </p:cNvCxnSpPr>
          <p:nvPr/>
        </p:nvCxnSpPr>
        <p:spPr>
          <a:xfrm rot="5400000" flipH="1" flipV="1">
            <a:off x="6769054" y="1346968"/>
            <a:ext cx="366498" cy="82483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159E1332-02F0-CD60-1C58-5B2A3CF6E887}"/>
              </a:ext>
            </a:extLst>
          </p:cNvPr>
          <p:cNvCxnSpPr>
            <a:stCxn id="2" idx="3"/>
            <a:endCxn id="10" idx="1"/>
          </p:cNvCxnSpPr>
          <p:nvPr/>
        </p:nvCxnSpPr>
        <p:spPr>
          <a:xfrm>
            <a:off x="7584399" y="3000321"/>
            <a:ext cx="514997"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5" name="Connector: Elbow 84">
            <a:extLst>
              <a:ext uri="{FF2B5EF4-FFF2-40B4-BE49-F238E27FC236}">
                <a16:creationId xmlns:a16="http://schemas.microsoft.com/office/drawing/2014/main" id="{4FDC970F-FA9E-3FAA-C189-C4E16CFA6733}"/>
              </a:ext>
            </a:extLst>
          </p:cNvPr>
          <p:cNvCxnSpPr>
            <a:stCxn id="12" idx="3"/>
            <a:endCxn id="20" idx="1"/>
          </p:cNvCxnSpPr>
          <p:nvPr/>
        </p:nvCxnSpPr>
        <p:spPr>
          <a:xfrm>
            <a:off x="9500498" y="3815587"/>
            <a:ext cx="547635"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87" name="Connector: Elbow 86">
            <a:extLst>
              <a:ext uri="{FF2B5EF4-FFF2-40B4-BE49-F238E27FC236}">
                <a16:creationId xmlns:a16="http://schemas.microsoft.com/office/drawing/2014/main" id="{E3E7B0F8-6D84-8BA0-B161-F9DA6B4C12C9}"/>
              </a:ext>
            </a:extLst>
          </p:cNvPr>
          <p:cNvCxnSpPr>
            <a:stCxn id="12" idx="3"/>
            <a:endCxn id="22" idx="1"/>
          </p:cNvCxnSpPr>
          <p:nvPr/>
        </p:nvCxnSpPr>
        <p:spPr>
          <a:xfrm>
            <a:off x="9500498" y="3815587"/>
            <a:ext cx="547635" cy="57284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1" name="Connector: Elbow 90">
            <a:extLst>
              <a:ext uri="{FF2B5EF4-FFF2-40B4-BE49-F238E27FC236}">
                <a16:creationId xmlns:a16="http://schemas.microsoft.com/office/drawing/2014/main" id="{8A759DFB-A41F-0339-404D-DB5E65F76F50}"/>
              </a:ext>
            </a:extLst>
          </p:cNvPr>
          <p:cNvCxnSpPr>
            <a:stCxn id="8" idx="2"/>
            <a:endCxn id="19" idx="0"/>
          </p:cNvCxnSpPr>
          <p:nvPr/>
        </p:nvCxnSpPr>
        <p:spPr>
          <a:xfrm rot="16200000" flipH="1">
            <a:off x="6919509"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3" name="Connector: Elbow 92">
            <a:extLst>
              <a:ext uri="{FF2B5EF4-FFF2-40B4-BE49-F238E27FC236}">
                <a16:creationId xmlns:a16="http://schemas.microsoft.com/office/drawing/2014/main" id="{CF4FE45B-5AB0-8E2B-C53D-4AAB1E6A50CD}"/>
              </a:ext>
            </a:extLst>
          </p:cNvPr>
          <p:cNvCxnSpPr>
            <a:stCxn id="8" idx="2"/>
            <a:endCxn id="17" idx="0"/>
          </p:cNvCxnSpPr>
          <p:nvPr/>
        </p:nvCxnSpPr>
        <p:spPr>
          <a:xfrm rot="5400000">
            <a:off x="6374670" y="4223220"/>
            <a:ext cx="330428" cy="1270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5" name="Connector: Elbow 94">
            <a:extLst>
              <a:ext uri="{FF2B5EF4-FFF2-40B4-BE49-F238E27FC236}">
                <a16:creationId xmlns:a16="http://schemas.microsoft.com/office/drawing/2014/main" id="{5E271107-10FC-AD66-D2FF-B581A15C8519}"/>
              </a:ext>
            </a:extLst>
          </p:cNvPr>
          <p:cNvCxnSpPr>
            <a:stCxn id="8" idx="2"/>
            <a:endCxn id="18" idx="0"/>
          </p:cNvCxnSpPr>
          <p:nvPr/>
        </p:nvCxnSpPr>
        <p:spPr>
          <a:xfrm rot="5400000">
            <a:off x="5829831" y="3678381"/>
            <a:ext cx="330428" cy="108967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7" name="Connector: Elbow 96">
            <a:extLst>
              <a:ext uri="{FF2B5EF4-FFF2-40B4-BE49-F238E27FC236}">
                <a16:creationId xmlns:a16="http://schemas.microsoft.com/office/drawing/2014/main" id="{95503A3F-DA5F-3944-FFBB-131DD05FB143}"/>
              </a:ext>
            </a:extLst>
          </p:cNvPr>
          <p:cNvCxnSpPr>
            <a:cxnSpLocks/>
            <a:stCxn id="8" idx="2"/>
            <a:endCxn id="39" idx="0"/>
          </p:cNvCxnSpPr>
          <p:nvPr/>
        </p:nvCxnSpPr>
        <p:spPr>
          <a:xfrm rot="5400000">
            <a:off x="5298643" y="3146689"/>
            <a:ext cx="329925" cy="2152558"/>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9" name="Connector: Elbow 98">
            <a:extLst>
              <a:ext uri="{FF2B5EF4-FFF2-40B4-BE49-F238E27FC236}">
                <a16:creationId xmlns:a16="http://schemas.microsoft.com/office/drawing/2014/main" id="{66A29047-54B2-5DEB-D798-FD986F15C5BA}"/>
              </a:ext>
            </a:extLst>
          </p:cNvPr>
          <p:cNvCxnSpPr>
            <a:stCxn id="4" idx="1"/>
            <a:endCxn id="41" idx="3"/>
          </p:cNvCxnSpPr>
          <p:nvPr/>
        </p:nvCxnSpPr>
        <p:spPr>
          <a:xfrm rot="10800000">
            <a:off x="3099718" y="2352546"/>
            <a:ext cx="479553" cy="64725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1" name="Connector: Elbow 100">
            <a:extLst>
              <a:ext uri="{FF2B5EF4-FFF2-40B4-BE49-F238E27FC236}">
                <a16:creationId xmlns:a16="http://schemas.microsoft.com/office/drawing/2014/main" id="{40195256-EC45-D410-0F31-1232A028F394}"/>
              </a:ext>
            </a:extLst>
          </p:cNvPr>
          <p:cNvCxnSpPr>
            <a:stCxn id="4" idx="1"/>
            <a:endCxn id="15" idx="3"/>
          </p:cNvCxnSpPr>
          <p:nvPr/>
        </p:nvCxnSpPr>
        <p:spPr>
          <a:xfrm rot="10800000" flipV="1">
            <a:off x="3064274" y="2999803"/>
            <a:ext cx="514997" cy="517"/>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5" name="Connector: Elbow 104">
            <a:extLst>
              <a:ext uri="{FF2B5EF4-FFF2-40B4-BE49-F238E27FC236}">
                <a16:creationId xmlns:a16="http://schemas.microsoft.com/office/drawing/2014/main" id="{BF2C9F42-37FF-FDC8-0265-DF1951938614}"/>
              </a:ext>
            </a:extLst>
          </p:cNvPr>
          <p:cNvCxnSpPr>
            <a:stCxn id="4" idx="1"/>
            <a:endCxn id="23" idx="3"/>
          </p:cNvCxnSpPr>
          <p:nvPr/>
        </p:nvCxnSpPr>
        <p:spPr>
          <a:xfrm rot="10800000" flipV="1">
            <a:off x="3064272" y="2999804"/>
            <a:ext cx="514998" cy="57336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7" name="Connector: Elbow 106">
            <a:extLst>
              <a:ext uri="{FF2B5EF4-FFF2-40B4-BE49-F238E27FC236}">
                <a16:creationId xmlns:a16="http://schemas.microsoft.com/office/drawing/2014/main" id="{76A463DB-4F61-82E0-9055-1CCECADE86DC}"/>
              </a:ext>
            </a:extLst>
          </p:cNvPr>
          <p:cNvCxnSpPr>
            <a:stCxn id="4" idx="1"/>
            <a:endCxn id="44" idx="3"/>
          </p:cNvCxnSpPr>
          <p:nvPr/>
        </p:nvCxnSpPr>
        <p:spPr>
          <a:xfrm rot="10800000" flipV="1">
            <a:off x="3064272" y="2999804"/>
            <a:ext cx="514998" cy="127865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18" name="Straight Connector 117">
            <a:extLst>
              <a:ext uri="{FF2B5EF4-FFF2-40B4-BE49-F238E27FC236}">
                <a16:creationId xmlns:a16="http://schemas.microsoft.com/office/drawing/2014/main" id="{C2590C04-CED6-A5D6-57D9-A24CBE97B1A2}"/>
              </a:ext>
            </a:extLst>
          </p:cNvPr>
          <p:cNvCxnSpPr>
            <a:stCxn id="10" idx="0"/>
            <a:endCxn id="11" idx="2"/>
          </p:cNvCxnSpPr>
          <p:nvPr/>
        </p:nvCxnSpPr>
        <p:spPr>
          <a:xfrm flipH="1" flipV="1">
            <a:off x="8793597" y="2419363"/>
            <a:ext cx="6350" cy="338539"/>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0" name="Straight Connector 119">
            <a:extLst>
              <a:ext uri="{FF2B5EF4-FFF2-40B4-BE49-F238E27FC236}">
                <a16:creationId xmlns:a16="http://schemas.microsoft.com/office/drawing/2014/main" id="{04DF232F-345F-A667-5FF6-5FE10E3838A8}"/>
              </a:ext>
            </a:extLst>
          </p:cNvPr>
          <p:cNvCxnSpPr>
            <a:stCxn id="12" idx="0"/>
            <a:endCxn id="10" idx="2"/>
          </p:cNvCxnSpPr>
          <p:nvPr/>
        </p:nvCxnSpPr>
        <p:spPr>
          <a:xfrm flipV="1">
            <a:off x="8799947"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ACD4996-46A8-0573-3DC9-ABBDE4C63DC6}"/>
              </a:ext>
            </a:extLst>
          </p:cNvPr>
          <p:cNvCxnSpPr>
            <a:stCxn id="11" idx="3"/>
            <a:endCxn id="21" idx="1"/>
          </p:cNvCxnSpPr>
          <p:nvPr/>
        </p:nvCxnSpPr>
        <p:spPr>
          <a:xfrm>
            <a:off x="9494148" y="2176944"/>
            <a:ext cx="553985" cy="811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123CC454-AF41-DD35-98B9-7774BB5683E8}"/>
              </a:ext>
            </a:extLst>
          </p:cNvPr>
          <p:cNvCxnSpPr>
            <a:stCxn id="2" idx="2"/>
            <a:endCxn id="8" idx="0"/>
          </p:cNvCxnSpPr>
          <p:nvPr/>
        </p:nvCxnSpPr>
        <p:spPr>
          <a:xfrm>
            <a:off x="6539884" y="3242740"/>
            <a:ext cx="0" cy="330428"/>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29" name="Rectangle 128">
            <a:extLst>
              <a:ext uri="{FF2B5EF4-FFF2-40B4-BE49-F238E27FC236}">
                <a16:creationId xmlns:a16="http://schemas.microsoft.com/office/drawing/2014/main" id="{2E3A5F2D-B968-F95D-D8B2-8E8B9EF7D59B}"/>
              </a:ext>
            </a:extLst>
          </p:cNvPr>
          <p:cNvSpPr/>
          <p:nvPr/>
        </p:nvSpPr>
        <p:spPr>
          <a:xfrm>
            <a:off x="790882" y="404442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OSM</a:t>
            </a:r>
            <a:endParaRPr lang="en-US" sz="1100" b="1" dirty="0">
              <a:ea typeface="Calibri" panose="020F0502020204030204" pitchFamily="34" charset="0"/>
              <a:cs typeface="DaunPenh" panose="01010101010101010101" pitchFamily="2" charset="0"/>
            </a:endParaRPr>
          </a:p>
        </p:txBody>
      </p:sp>
      <p:sp>
        <p:nvSpPr>
          <p:cNvPr id="130" name="Rectangle 129">
            <a:extLst>
              <a:ext uri="{FF2B5EF4-FFF2-40B4-BE49-F238E27FC236}">
                <a16:creationId xmlns:a16="http://schemas.microsoft.com/office/drawing/2014/main" id="{7EEBC4F4-405D-3A95-798F-63408B023732}"/>
              </a:ext>
            </a:extLst>
          </p:cNvPr>
          <p:cNvSpPr/>
          <p:nvPr/>
        </p:nvSpPr>
        <p:spPr>
          <a:xfrm>
            <a:off x="830051" y="465183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Customer Data</a:t>
            </a:r>
            <a:endParaRPr lang="en-US" sz="1100" b="1" dirty="0">
              <a:ea typeface="Calibri" panose="020F0502020204030204" pitchFamily="34" charset="0"/>
              <a:cs typeface="DaunPenh" panose="01010101010101010101" pitchFamily="2" charset="0"/>
            </a:endParaRPr>
          </a:p>
        </p:txBody>
      </p:sp>
      <p:sp>
        <p:nvSpPr>
          <p:cNvPr id="131" name="Rectangle 130">
            <a:extLst>
              <a:ext uri="{FF2B5EF4-FFF2-40B4-BE49-F238E27FC236}">
                <a16:creationId xmlns:a16="http://schemas.microsoft.com/office/drawing/2014/main" id="{E5B302FD-96AE-8E39-F82E-11F92836B4EB}"/>
              </a:ext>
            </a:extLst>
          </p:cNvPr>
          <p:cNvSpPr/>
          <p:nvPr/>
        </p:nvSpPr>
        <p:spPr>
          <a:xfrm>
            <a:off x="830051" y="5259235"/>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PICOS</a:t>
            </a:r>
            <a:endParaRPr lang="en-US" sz="1100" b="1" dirty="0">
              <a:ea typeface="Calibri" panose="020F0502020204030204" pitchFamily="34" charset="0"/>
              <a:cs typeface="DaunPenh" panose="01010101010101010101" pitchFamily="2" charset="0"/>
            </a:endParaRPr>
          </a:p>
        </p:txBody>
      </p:sp>
      <p:cxnSp>
        <p:nvCxnSpPr>
          <p:cNvPr id="134" name="Straight Connector 133">
            <a:extLst>
              <a:ext uri="{FF2B5EF4-FFF2-40B4-BE49-F238E27FC236}">
                <a16:creationId xmlns:a16="http://schemas.microsoft.com/office/drawing/2014/main" id="{14AE5EA2-0517-E3D8-AAD4-C145EE54732E}"/>
              </a:ext>
            </a:extLst>
          </p:cNvPr>
          <p:cNvCxnSpPr>
            <a:stCxn id="41" idx="1"/>
            <a:endCxn id="43" idx="3"/>
          </p:cNvCxnSpPr>
          <p:nvPr/>
        </p:nvCxnSpPr>
        <p:spPr>
          <a:xfrm flipH="1" flipV="1">
            <a:off x="1763761" y="2346214"/>
            <a:ext cx="522257" cy="6331"/>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675A552D-2ADB-28B3-7C0C-80824561238C}"/>
              </a:ext>
            </a:extLst>
          </p:cNvPr>
          <p:cNvCxnSpPr>
            <a:stCxn id="15" idx="1"/>
            <a:endCxn id="40" idx="3"/>
          </p:cNvCxnSpPr>
          <p:nvPr/>
        </p:nvCxnSpPr>
        <p:spPr>
          <a:xfrm flipH="1" flipV="1">
            <a:off x="1763762" y="2996736"/>
            <a:ext cx="522257" cy="3585"/>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39" name="Connector: Elbow 138">
            <a:extLst>
              <a:ext uri="{FF2B5EF4-FFF2-40B4-BE49-F238E27FC236}">
                <a16:creationId xmlns:a16="http://schemas.microsoft.com/office/drawing/2014/main" id="{B4EACEA4-9547-3E54-65E7-906BAACB455C}"/>
              </a:ext>
            </a:extLst>
          </p:cNvPr>
          <p:cNvCxnSpPr>
            <a:stCxn id="15" idx="1"/>
            <a:endCxn id="37" idx="3"/>
          </p:cNvCxnSpPr>
          <p:nvPr/>
        </p:nvCxnSpPr>
        <p:spPr>
          <a:xfrm rot="10800000" flipV="1">
            <a:off x="1771021" y="3000320"/>
            <a:ext cx="514998" cy="551839"/>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33966FAF-EFEE-CC81-ADAF-49D0EB371F85}"/>
              </a:ext>
            </a:extLst>
          </p:cNvPr>
          <p:cNvCxnSpPr>
            <a:stCxn id="44" idx="1"/>
            <a:endCxn id="129" idx="3"/>
          </p:cNvCxnSpPr>
          <p:nvPr/>
        </p:nvCxnSpPr>
        <p:spPr>
          <a:xfrm flipH="1">
            <a:off x="1745159" y="4278460"/>
            <a:ext cx="505414" cy="838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5" name="Connector: Elbow 144">
            <a:extLst>
              <a:ext uri="{FF2B5EF4-FFF2-40B4-BE49-F238E27FC236}">
                <a16:creationId xmlns:a16="http://schemas.microsoft.com/office/drawing/2014/main" id="{4E9675B6-24BF-FF96-1159-2879607BB817}"/>
              </a:ext>
            </a:extLst>
          </p:cNvPr>
          <p:cNvCxnSpPr>
            <a:stCxn id="44" idx="1"/>
            <a:endCxn id="130" idx="3"/>
          </p:cNvCxnSpPr>
          <p:nvPr/>
        </p:nvCxnSpPr>
        <p:spPr>
          <a:xfrm rot="10800000" flipV="1">
            <a:off x="1784329" y="4278460"/>
            <a:ext cx="466245" cy="615790"/>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47" name="Connector: Elbow 146">
            <a:extLst>
              <a:ext uri="{FF2B5EF4-FFF2-40B4-BE49-F238E27FC236}">
                <a16:creationId xmlns:a16="http://schemas.microsoft.com/office/drawing/2014/main" id="{1C12506A-39D7-B192-B62E-4C2F67A80D6C}"/>
              </a:ext>
            </a:extLst>
          </p:cNvPr>
          <p:cNvCxnSpPr>
            <a:stCxn id="44" idx="1"/>
            <a:endCxn id="131" idx="3"/>
          </p:cNvCxnSpPr>
          <p:nvPr/>
        </p:nvCxnSpPr>
        <p:spPr>
          <a:xfrm rot="10800000" flipV="1">
            <a:off x="1784329" y="4278460"/>
            <a:ext cx="466245" cy="1223194"/>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49" name="Rectangle 148">
            <a:extLst>
              <a:ext uri="{FF2B5EF4-FFF2-40B4-BE49-F238E27FC236}">
                <a16:creationId xmlns:a16="http://schemas.microsoft.com/office/drawing/2014/main" id="{A047C9B1-B1C6-1626-3926-6A234B6D2279}"/>
              </a:ext>
            </a:extLst>
          </p:cNvPr>
          <p:cNvSpPr/>
          <p:nvPr/>
        </p:nvSpPr>
        <p:spPr>
          <a:xfrm>
            <a:off x="830051" y="5842657"/>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sset</a:t>
            </a:r>
            <a:endParaRPr lang="en-US" sz="1100" b="1" dirty="0">
              <a:ea typeface="Calibri" panose="020F0502020204030204" pitchFamily="34" charset="0"/>
              <a:cs typeface="DaunPenh" panose="01010101010101010101" pitchFamily="2" charset="0"/>
            </a:endParaRPr>
          </a:p>
        </p:txBody>
      </p:sp>
      <p:cxnSp>
        <p:nvCxnSpPr>
          <p:cNvPr id="151" name="Connector: Elbow 150">
            <a:extLst>
              <a:ext uri="{FF2B5EF4-FFF2-40B4-BE49-F238E27FC236}">
                <a16:creationId xmlns:a16="http://schemas.microsoft.com/office/drawing/2014/main" id="{6B8B1BC4-6FE1-87D7-5C7A-C46B0492EA45}"/>
              </a:ext>
            </a:extLst>
          </p:cNvPr>
          <p:cNvCxnSpPr>
            <a:stCxn id="44" idx="1"/>
            <a:endCxn id="149" idx="3"/>
          </p:cNvCxnSpPr>
          <p:nvPr/>
        </p:nvCxnSpPr>
        <p:spPr>
          <a:xfrm rot="10800000" flipV="1">
            <a:off x="1784329" y="4278460"/>
            <a:ext cx="466245" cy="1806616"/>
          </a:xfrm>
          <a:prstGeom prst="bentConnector3">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52" name="Rectangle 151">
            <a:extLst>
              <a:ext uri="{FF2B5EF4-FFF2-40B4-BE49-F238E27FC236}">
                <a16:creationId xmlns:a16="http://schemas.microsoft.com/office/drawing/2014/main" id="{1D557021-53F7-2BF0-BA4A-8EB729183EB0}"/>
              </a:ext>
            </a:extLst>
          </p:cNvPr>
          <p:cNvSpPr/>
          <p:nvPr/>
        </p:nvSpPr>
        <p:spPr>
          <a:xfrm>
            <a:off x="2198007" y="5913681"/>
            <a:ext cx="954277"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latin typeface="HEINEKEN Core" panose="02000503050000020004" pitchFamily="2" charset="0"/>
                <a:ea typeface="Calibri" panose="020F0502020204030204" pitchFamily="34" charset="0"/>
                <a:cs typeface="DaunPenh" panose="01010101010101010101" pitchFamily="2" charset="0"/>
              </a:rPr>
              <a:t>Activation</a:t>
            </a:r>
            <a:endParaRPr lang="en-US" sz="1100" b="1" dirty="0">
              <a:ea typeface="Calibri" panose="020F0502020204030204" pitchFamily="34" charset="0"/>
              <a:cs typeface="DaunPenh" panose="01010101010101010101" pitchFamily="2" charset="0"/>
            </a:endParaRPr>
          </a:p>
        </p:txBody>
      </p:sp>
      <p:cxnSp>
        <p:nvCxnSpPr>
          <p:cNvPr id="154" name="Straight Connector 153">
            <a:extLst>
              <a:ext uri="{FF2B5EF4-FFF2-40B4-BE49-F238E27FC236}">
                <a16:creationId xmlns:a16="http://schemas.microsoft.com/office/drawing/2014/main" id="{EA08AA72-21D4-27FC-AB79-D73C70C56376}"/>
              </a:ext>
            </a:extLst>
          </p:cNvPr>
          <p:cNvCxnSpPr>
            <a:stCxn id="44" idx="2"/>
          </p:cNvCxnSpPr>
          <p:nvPr/>
        </p:nvCxnSpPr>
        <p:spPr>
          <a:xfrm flipH="1">
            <a:off x="2657422" y="4520879"/>
            <a:ext cx="1" cy="1409576"/>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63789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A226BB7-DA39-CDB7-C74A-FD4EEEAA2B6C}"/>
              </a:ext>
            </a:extLst>
          </p:cNvPr>
          <p:cNvSpPr txBox="1">
            <a:spLocks/>
          </p:cNvSpPr>
          <p:nvPr/>
        </p:nvSpPr>
        <p:spPr>
          <a:xfrm>
            <a:off x="420677" y="373600"/>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DATA COLLECTION</a:t>
            </a:r>
          </a:p>
        </p:txBody>
      </p:sp>
      <p:pic>
        <p:nvPicPr>
          <p:cNvPr id="6" name="Picture 5">
            <a:extLst>
              <a:ext uri="{FF2B5EF4-FFF2-40B4-BE49-F238E27FC236}">
                <a16:creationId xmlns:a16="http://schemas.microsoft.com/office/drawing/2014/main" id="{BFEA8E5B-3925-157E-5096-E5A7FB85F60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9" name="Rectangle 8">
            <a:extLst>
              <a:ext uri="{FF2B5EF4-FFF2-40B4-BE49-F238E27FC236}">
                <a16:creationId xmlns:a16="http://schemas.microsoft.com/office/drawing/2014/main" id="{91FD2247-2C6F-EC45-0CA1-F76A39832468}"/>
              </a:ext>
            </a:extLst>
          </p:cNvPr>
          <p:cNvSpPr/>
          <p:nvPr/>
        </p:nvSpPr>
        <p:spPr>
          <a:xfrm>
            <a:off x="524236" y="1068373"/>
            <a:ext cx="3408571"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Outlet Sample (Unique)</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1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4" name="Rectangle 13">
            <a:extLst>
              <a:ext uri="{FF2B5EF4-FFF2-40B4-BE49-F238E27FC236}">
                <a16:creationId xmlns:a16="http://schemas.microsoft.com/office/drawing/2014/main" id="{F1F44D77-8742-4A50-11CC-891D96B3D8CB}"/>
              </a:ext>
            </a:extLst>
          </p:cNvPr>
          <p:cNvSpPr/>
          <p:nvPr/>
        </p:nvSpPr>
        <p:spPr>
          <a:xfrm>
            <a:off x="4112294"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Est. Order Transactional Data</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2500</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16" name="Rectangle 15">
            <a:extLst>
              <a:ext uri="{FF2B5EF4-FFF2-40B4-BE49-F238E27FC236}">
                <a16:creationId xmlns:a16="http://schemas.microsoft.com/office/drawing/2014/main" id="{16F6C848-E3CE-BEAE-0605-A562A512966A}"/>
              </a:ext>
            </a:extLst>
          </p:cNvPr>
          <p:cNvSpPr/>
          <p:nvPr/>
        </p:nvSpPr>
        <p:spPr>
          <a:xfrm>
            <a:off x="8142756" y="1068373"/>
            <a:ext cx="3850975" cy="736374"/>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solidFill>
                <a:effectLst/>
                <a:uFillTx/>
                <a:latin typeface="+mj-lt"/>
                <a:ea typeface="+mn-ea"/>
                <a:cs typeface="+mn-cs"/>
                <a:sym typeface="Helvetica Light"/>
              </a:rPr>
              <a:t>Total Features</a:t>
            </a:r>
          </a:p>
          <a:p>
            <a:pPr marL="0" marR="0" indent="0" algn="ctr" defTabSz="825500" rtl="0" fontAlgn="auto" latinLnBrk="0" hangingPunct="0">
              <a:lnSpc>
                <a:spcPct val="100000"/>
              </a:lnSpc>
              <a:spcBef>
                <a:spcPts val="0"/>
              </a:spcBef>
              <a:spcAft>
                <a:spcPts val="0"/>
              </a:spcAft>
              <a:buClrTx/>
              <a:buSzTx/>
              <a:buFontTx/>
              <a:buNone/>
              <a:tabLst/>
            </a:pPr>
            <a:r>
              <a:rPr lang="en-US" sz="2800" dirty="0">
                <a:solidFill>
                  <a:schemeClr val="tx2"/>
                </a:solidFill>
                <a:latin typeface="+mj-lt"/>
              </a:rPr>
              <a:t>45</a:t>
            </a:r>
            <a:r>
              <a:rPr lang="en-US" sz="1200" dirty="0">
                <a:solidFill>
                  <a:schemeClr val="tx2"/>
                </a:solidFill>
                <a:latin typeface="+mj-lt"/>
              </a:rPr>
              <a:t> </a:t>
            </a:r>
            <a:endParaRPr kumimoji="0" lang="en-US" sz="1200" b="0" i="0" u="none" strike="noStrike" cap="none" spc="0" normalizeH="0" baseline="0" dirty="0">
              <a:ln>
                <a:noFill/>
              </a:ln>
              <a:solidFill>
                <a:schemeClr val="tx2"/>
              </a:solidFill>
              <a:effectLst/>
              <a:uFillTx/>
              <a:latin typeface="+mj-lt"/>
              <a:ea typeface="+mn-ea"/>
              <a:cs typeface="+mn-cs"/>
              <a:sym typeface="Helvetica Light"/>
            </a:endParaRPr>
          </a:p>
        </p:txBody>
      </p:sp>
      <p:sp>
        <p:nvSpPr>
          <p:cNvPr id="36" name="Rectangle 35">
            <a:extLst>
              <a:ext uri="{FF2B5EF4-FFF2-40B4-BE49-F238E27FC236}">
                <a16:creationId xmlns:a16="http://schemas.microsoft.com/office/drawing/2014/main" id="{084633B3-4BBA-3BB5-BBE6-11AEA7C5C1C5}"/>
              </a:ext>
            </a:extLst>
          </p:cNvPr>
          <p:cNvSpPr/>
          <p:nvPr/>
        </p:nvSpPr>
        <p:spPr>
          <a:xfrm>
            <a:off x="552482"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err="1">
                <a:solidFill>
                  <a:srgbClr val="000000"/>
                </a:solidFill>
                <a:effectLst/>
                <a:latin typeface="+mj-lt"/>
              </a:rPr>
              <a:t>Agent_Code</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gent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ustomer_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Kh</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NameE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Reg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rovinc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Account_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istrict</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Commun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Villag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Org_Segmen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Business_Segment</a:t>
            </a:r>
            <a:r>
              <a:rPr lang="en-US" sz="1200" dirty="0">
                <a:latin typeface="+mj-lt"/>
              </a:rPr>
              <a:t> </a:t>
            </a:r>
          </a:p>
        </p:txBody>
      </p:sp>
      <p:sp>
        <p:nvSpPr>
          <p:cNvPr id="42" name="Rectangle 41">
            <a:extLst>
              <a:ext uri="{FF2B5EF4-FFF2-40B4-BE49-F238E27FC236}">
                <a16:creationId xmlns:a16="http://schemas.microsoft.com/office/drawing/2014/main" id="{9DDAD9AB-06F5-1D96-D46F-89018F8551DE}"/>
              </a:ext>
            </a:extLst>
          </p:cNvPr>
          <p:cNvSpPr/>
          <p:nvPr/>
        </p:nvSpPr>
        <p:spPr>
          <a:xfrm>
            <a:off x="543969" y="1958679"/>
            <a:ext cx="11449761" cy="484838"/>
          </a:xfrm>
          <a:prstGeom prst="rect">
            <a:avLst/>
          </a:prstGeom>
          <a:noFill/>
          <a:ln w="9525"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400" b="1" dirty="0">
                <a:latin typeface="HEINEKEN Core" panose="02000503050000020004" pitchFamily="2" charset="0"/>
                <a:ea typeface="Calibri" panose="020F0502020204030204" pitchFamily="34" charset="0"/>
                <a:cs typeface="DaunPenh" panose="01010101010101010101" pitchFamily="2" charset="0"/>
              </a:rPr>
              <a:t>List the Features</a:t>
            </a:r>
            <a:endParaRPr lang="en-US" sz="1400" b="1" dirty="0">
              <a:ea typeface="Calibri" panose="020F0502020204030204" pitchFamily="34" charset="0"/>
              <a:cs typeface="DaunPenh" panose="01010101010101010101" pitchFamily="2" charset="0"/>
            </a:endParaRPr>
          </a:p>
        </p:txBody>
      </p:sp>
      <p:sp>
        <p:nvSpPr>
          <p:cNvPr id="48" name="Rectangle 47">
            <a:extLst>
              <a:ext uri="{FF2B5EF4-FFF2-40B4-BE49-F238E27FC236}">
                <a16:creationId xmlns:a16="http://schemas.microsoft.com/office/drawing/2014/main" id="{41F73D80-1668-1016-873D-2E063D6A12D9}"/>
              </a:ext>
            </a:extLst>
          </p:cNvPr>
          <p:cNvSpPr/>
          <p:nvPr/>
        </p:nvSpPr>
        <p:spPr>
          <a:xfrm>
            <a:off x="4518734" y="2652370"/>
            <a:ext cx="3558467"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b="0" i="0" u="none" strike="noStrike" dirty="0">
                <a:solidFill>
                  <a:srgbClr val="000000"/>
                </a:solidFill>
                <a:effectLst/>
                <a:latin typeface="+mj-lt"/>
              </a:rPr>
              <a:t>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ChannelNam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utletCreditStatus</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Premiu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HCAM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Premium_Brand</a:t>
            </a:r>
            <a:endParaRPr lang="en-US" sz="1200" dirty="0">
              <a:solidFill>
                <a:srgbClr val="000000"/>
              </a:solidFill>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AMS_Competitors_Mainstream_Brand</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Typ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No_</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DocType</a:t>
            </a:r>
            <a:endParaRPr lang="en-US" sz="1200" b="0" i="0" u="none" strike="noStrike" dirty="0">
              <a:solidFill>
                <a:srgbClr val="000000"/>
              </a:solidFill>
              <a:effectLst/>
              <a:latin typeface="+mj-lt"/>
            </a:endParaRPr>
          </a:p>
          <a:p>
            <a:pPr marL="171450" indent="-171450" algn="l">
              <a:buFont typeface="Arial" panose="020B0604020202020204" pitchFamily="34" charset="0"/>
              <a:buChar char="•"/>
            </a:pPr>
            <a:r>
              <a:rPr lang="en-US" sz="1200" b="0" i="0" u="none" strike="noStrike" dirty="0" err="1">
                <a:solidFill>
                  <a:srgbClr val="000000"/>
                </a:solidFill>
                <a:effectLst/>
                <a:latin typeface="+mj-lt"/>
              </a:rPr>
              <a:t>ContractTyp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OrderCategory</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emCod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Quantity</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HL</a:t>
            </a:r>
            <a:r>
              <a:rPr lang="en-US" sz="1200" dirty="0">
                <a:latin typeface="+mj-lt"/>
              </a:rPr>
              <a:t> </a:t>
            </a:r>
          </a:p>
        </p:txBody>
      </p:sp>
      <p:sp>
        <p:nvSpPr>
          <p:cNvPr id="50" name="Rectangle 49">
            <a:extLst>
              <a:ext uri="{FF2B5EF4-FFF2-40B4-BE49-F238E27FC236}">
                <a16:creationId xmlns:a16="http://schemas.microsoft.com/office/drawing/2014/main" id="{318C67E3-E9E9-F0B2-B0A2-073460EE2B24}"/>
              </a:ext>
            </a:extLst>
          </p:cNvPr>
          <p:cNvSpPr/>
          <p:nvPr/>
        </p:nvSpPr>
        <p:spPr>
          <a:xfrm>
            <a:off x="8154736" y="2652370"/>
            <a:ext cx="3856761" cy="411969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dirty="0">
                <a:solidFill>
                  <a:srgbClr val="000000"/>
                </a:solidFill>
                <a:latin typeface="+mj-lt"/>
              </a:rPr>
              <a:t>a</a:t>
            </a:r>
            <a:r>
              <a:rPr lang="en-US" sz="1200" b="0" i="0" u="none" strike="noStrike" dirty="0">
                <a:solidFill>
                  <a:srgbClr val="000000"/>
                </a:solidFill>
                <a:effectLst/>
                <a:latin typeface="+mj-lt"/>
              </a:rPr>
              <a:t>mount1</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Amount Including VAT</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code</a:t>
            </a:r>
            <a:r>
              <a:rPr lang="en-US" sz="1200" dirty="0">
                <a:latin typeface="+mj-lt"/>
              </a:rPr>
              <a:t> </a:t>
            </a:r>
          </a:p>
          <a:p>
            <a:pPr marL="171450" indent="-171450" algn="l">
              <a:buFont typeface="Arial" panose="020B0604020202020204" pitchFamily="34" charset="0"/>
              <a:buChar char="•"/>
            </a:pPr>
            <a:r>
              <a:rPr lang="en-US" sz="1200" b="0" i="0" u="none" strike="noStrike" dirty="0" err="1">
                <a:solidFill>
                  <a:srgbClr val="000000"/>
                </a:solidFill>
                <a:effectLst/>
                <a:latin typeface="+mj-lt"/>
              </a:rPr>
              <a:t>itm_des</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1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2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3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level4_territory and Nam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Order Date</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Posting Description</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Shipment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ue Date</a:t>
            </a:r>
            <a:r>
              <a:rPr lang="en-US" sz="1200" dirty="0">
                <a:latin typeface="+mj-lt"/>
              </a:rPr>
              <a:t> </a:t>
            </a:r>
          </a:p>
          <a:p>
            <a:pPr marL="171450" indent="-171450" algn="l">
              <a:buFont typeface="Arial" panose="020B0604020202020204" pitchFamily="34" charset="0"/>
              <a:buChar char="•"/>
            </a:pPr>
            <a:r>
              <a:rPr lang="en-US" sz="1200" b="0" i="0" u="none" strike="noStrike" dirty="0">
                <a:solidFill>
                  <a:srgbClr val="000000"/>
                </a:solidFill>
                <a:effectLst/>
                <a:latin typeface="+mj-lt"/>
              </a:rPr>
              <a:t>Document Date</a:t>
            </a:r>
            <a:r>
              <a:rPr lang="en-US" sz="1200" dirty="0">
                <a:latin typeface="+mj-lt"/>
              </a:rPr>
              <a:t> </a:t>
            </a:r>
          </a:p>
        </p:txBody>
      </p:sp>
    </p:spTree>
    <p:extLst>
      <p:ext uri="{BB962C8B-B14F-4D97-AF65-F5344CB8AC3E}">
        <p14:creationId xmlns:p14="http://schemas.microsoft.com/office/powerpoint/2010/main" val="204661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927308" y="2931736"/>
            <a:ext cx="4486963" cy="874878"/>
          </a:xfrm>
        </p:spPr>
        <p:txBody>
          <a:bodyPr/>
          <a:lstStyle/>
          <a:p>
            <a:r>
              <a:rPr lang="en-US" dirty="0"/>
              <a:t>TECHNOLOGY</a:t>
            </a:r>
            <a:endParaRPr lang="nl-NL" dirty="0"/>
          </a:p>
        </p:txBody>
      </p:sp>
    </p:spTree>
    <p:extLst>
      <p:ext uri="{BB962C8B-B14F-4D97-AF65-F5344CB8AC3E}">
        <p14:creationId xmlns:p14="http://schemas.microsoft.com/office/powerpoint/2010/main" val="111850233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idx="4294967295"/>
          </p:nvPr>
        </p:nvSpPr>
        <p:spPr>
          <a:xfrm>
            <a:off x="0" y="573088"/>
            <a:ext cx="4487863" cy="3233737"/>
          </a:xfrm>
        </p:spPr>
        <p:txBody>
          <a:bodyPr/>
          <a:lstStyle/>
          <a:p>
            <a:r>
              <a:rPr lang="en-US" dirty="0"/>
              <a:t>TECHNOLOGY</a:t>
            </a:r>
            <a:endParaRPr lang="nl-NL" dirty="0"/>
          </a:p>
        </p:txBody>
      </p:sp>
      <p:pic>
        <p:nvPicPr>
          <p:cNvPr id="2" name="Picture 1">
            <a:extLst>
              <a:ext uri="{FF2B5EF4-FFF2-40B4-BE49-F238E27FC236}">
                <a16:creationId xmlns:a16="http://schemas.microsoft.com/office/drawing/2014/main" id="{F500ECE1-2BB6-A2FC-4D27-B250A0B7508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66627" y="-123455"/>
            <a:ext cx="2428875" cy="1214755"/>
          </a:xfrm>
          <a:prstGeom prst="rect">
            <a:avLst/>
          </a:prstGeom>
          <a:noFill/>
          <a:ln>
            <a:noFill/>
          </a:ln>
        </p:spPr>
      </p:pic>
      <p:sp>
        <p:nvSpPr>
          <p:cNvPr id="3" name="Rectangle 2">
            <a:extLst>
              <a:ext uri="{FF2B5EF4-FFF2-40B4-BE49-F238E27FC236}">
                <a16:creationId xmlns:a16="http://schemas.microsoft.com/office/drawing/2014/main" id="{335BEFDB-8651-31D5-2004-E9F7FC3537F2}"/>
              </a:ext>
            </a:extLst>
          </p:cNvPr>
          <p:cNvSpPr/>
          <p:nvPr/>
        </p:nvSpPr>
        <p:spPr>
          <a:xfrm>
            <a:off x="1056970" y="1340769"/>
            <a:ext cx="4278510"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descr="Python Logo PNG Transparent &amp; SVG Vector - Freebie Supply">
            <a:extLst>
              <a:ext uri="{FF2B5EF4-FFF2-40B4-BE49-F238E27FC236}">
                <a16:creationId xmlns:a16="http://schemas.microsoft.com/office/drawing/2014/main" id="{28C7D70B-0F9E-6BFD-A414-9F0C181ED9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5000" y="1890610"/>
            <a:ext cx="989868" cy="985761"/>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Sql в: Кому нужен SQL? Оказывается, всем. А зачем?">
            <a:extLst>
              <a:ext uri="{FF2B5EF4-FFF2-40B4-BE49-F238E27FC236}">
                <a16:creationId xmlns:a16="http://schemas.microsoft.com/office/drawing/2014/main" id="{2B929309-9955-F6C4-8731-7E20C87B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2495" y="1890610"/>
            <a:ext cx="977924" cy="977924"/>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Office 365 dé nieuwe cloud omgeving | DynamicsOnline">
            <a:extLst>
              <a:ext uri="{FF2B5EF4-FFF2-40B4-BE49-F238E27FC236}">
                <a16:creationId xmlns:a16="http://schemas.microsoft.com/office/drawing/2014/main" id="{AF16B377-7012-315A-475D-C4A2AACA48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48046" y="1887553"/>
            <a:ext cx="990291" cy="98098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B07DDEB-E088-2C5A-291B-C5CF96FA350B}"/>
              </a:ext>
            </a:extLst>
          </p:cNvPr>
          <p:cNvSpPr txBox="1"/>
          <p:nvPr/>
        </p:nvSpPr>
        <p:spPr>
          <a:xfrm>
            <a:off x="938876" y="288083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Python</a:t>
            </a:r>
          </a:p>
        </p:txBody>
      </p:sp>
      <p:sp>
        <p:nvSpPr>
          <p:cNvPr id="6" name="TextBox 5">
            <a:extLst>
              <a:ext uri="{FF2B5EF4-FFF2-40B4-BE49-F238E27FC236}">
                <a16:creationId xmlns:a16="http://schemas.microsoft.com/office/drawing/2014/main" id="{0119922D-B0F4-E304-52E0-B6221824900F}"/>
              </a:ext>
            </a:extLst>
          </p:cNvPr>
          <p:cNvSpPr txBox="1"/>
          <p:nvPr/>
        </p:nvSpPr>
        <p:spPr>
          <a:xfrm>
            <a:off x="2230399"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QL</a:t>
            </a:r>
          </a:p>
        </p:txBody>
      </p:sp>
      <p:sp>
        <p:nvSpPr>
          <p:cNvPr id="7" name="TextBox 6">
            <a:extLst>
              <a:ext uri="{FF2B5EF4-FFF2-40B4-BE49-F238E27FC236}">
                <a16:creationId xmlns:a16="http://schemas.microsoft.com/office/drawing/2014/main" id="{43DA35DA-353E-785D-7386-17AADC0C59A6}"/>
              </a:ext>
            </a:extLst>
          </p:cNvPr>
          <p:cNvSpPr txBox="1"/>
          <p:nvPr/>
        </p:nvSpPr>
        <p:spPr>
          <a:xfrm>
            <a:off x="3529574" y="289447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DAX</a:t>
            </a:r>
          </a:p>
        </p:txBody>
      </p:sp>
      <p:sp>
        <p:nvSpPr>
          <p:cNvPr id="8" name="Rectangle 7">
            <a:extLst>
              <a:ext uri="{FF2B5EF4-FFF2-40B4-BE49-F238E27FC236}">
                <a16:creationId xmlns:a16="http://schemas.microsoft.com/office/drawing/2014/main" id="{29644A81-3EFE-EE42-BC48-C5C36FD8F3D4}"/>
              </a:ext>
            </a:extLst>
          </p:cNvPr>
          <p:cNvSpPr/>
          <p:nvPr/>
        </p:nvSpPr>
        <p:spPr>
          <a:xfrm>
            <a:off x="5544832" y="1340769"/>
            <a:ext cx="6342367" cy="1988357"/>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9BD9447-DAB0-8EF1-FF5F-C12B04B01AEE}"/>
              </a:ext>
            </a:extLst>
          </p:cNvPr>
          <p:cNvSpPr txBox="1"/>
          <p:nvPr/>
        </p:nvSpPr>
        <p:spPr>
          <a:xfrm>
            <a:off x="5402546" y="288901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SQL Server</a:t>
            </a:r>
          </a:p>
        </p:txBody>
      </p:sp>
      <p:sp>
        <p:nvSpPr>
          <p:cNvPr id="13" name="TextBox 12">
            <a:extLst>
              <a:ext uri="{FF2B5EF4-FFF2-40B4-BE49-F238E27FC236}">
                <a16:creationId xmlns:a16="http://schemas.microsoft.com/office/drawing/2014/main" id="{27056B03-7DDF-3FA7-C36B-7100F0D54E54}"/>
              </a:ext>
            </a:extLst>
          </p:cNvPr>
          <p:cNvSpPr txBox="1"/>
          <p:nvPr/>
        </p:nvSpPr>
        <p:spPr>
          <a:xfrm>
            <a:off x="6694069" y="2902660"/>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Anaconda</a:t>
            </a:r>
          </a:p>
        </p:txBody>
      </p:sp>
      <p:sp>
        <p:nvSpPr>
          <p:cNvPr id="14" name="TextBox 13">
            <a:extLst>
              <a:ext uri="{FF2B5EF4-FFF2-40B4-BE49-F238E27FC236}">
                <a16:creationId xmlns:a16="http://schemas.microsoft.com/office/drawing/2014/main" id="{23C41876-9080-7E76-6258-2D228739667B}"/>
              </a:ext>
            </a:extLst>
          </p:cNvPr>
          <p:cNvSpPr txBox="1"/>
          <p:nvPr/>
        </p:nvSpPr>
        <p:spPr>
          <a:xfrm>
            <a:off x="8002122" y="2911155"/>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VS Code</a:t>
            </a:r>
          </a:p>
        </p:txBody>
      </p:sp>
      <p:pic>
        <p:nvPicPr>
          <p:cNvPr id="11276" name="Picture 12" descr="Anaconda Python – Data Resource Portal">
            <a:extLst>
              <a:ext uri="{FF2B5EF4-FFF2-40B4-BE49-F238E27FC236}">
                <a16:creationId xmlns:a16="http://schemas.microsoft.com/office/drawing/2014/main" id="{014679EF-C98A-FAC4-1CD5-58C230EC37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5295" y="1774814"/>
            <a:ext cx="1187316" cy="1187316"/>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SQL Server Logo - LogoDix">
            <a:extLst>
              <a:ext uri="{FF2B5EF4-FFF2-40B4-BE49-F238E27FC236}">
                <a16:creationId xmlns:a16="http://schemas.microsoft.com/office/drawing/2014/main" id="{05DA6F21-E71A-95C5-8232-952264A6582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4594" y="1932144"/>
            <a:ext cx="801349" cy="872656"/>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Visual Studio Code [ Download - Logo - icon ] png svg">
            <a:extLst>
              <a:ext uri="{FF2B5EF4-FFF2-40B4-BE49-F238E27FC236}">
                <a16:creationId xmlns:a16="http://schemas.microsoft.com/office/drawing/2014/main" id="{AB23B21C-3C4B-1E85-D821-3C20FE1346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20599" y="1930482"/>
            <a:ext cx="928481" cy="928481"/>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Você conhece a Microsoft Power Platform?">
            <a:extLst>
              <a:ext uri="{FF2B5EF4-FFF2-40B4-BE49-F238E27FC236}">
                <a16:creationId xmlns:a16="http://schemas.microsoft.com/office/drawing/2014/main" id="{369311DE-4413-C0FA-2DBF-04E6D0C611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85566" y="1801579"/>
            <a:ext cx="1209183" cy="121991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B273836-D1A8-A4A4-3EDE-14F2FD9F8ED0}"/>
              </a:ext>
            </a:extLst>
          </p:cNvPr>
          <p:cNvSpPr txBox="1"/>
          <p:nvPr/>
        </p:nvSpPr>
        <p:spPr>
          <a:xfrm>
            <a:off x="9234224" y="2904662"/>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PowerBI</a:t>
            </a:r>
          </a:p>
        </p:txBody>
      </p:sp>
      <p:pic>
        <p:nvPicPr>
          <p:cNvPr id="11288" name="Picture 24" descr="Microsoft’s Office in the Cloud: Office 365 Review – Techgage">
            <a:extLst>
              <a:ext uri="{FF2B5EF4-FFF2-40B4-BE49-F238E27FC236}">
                <a16:creationId xmlns:a16="http://schemas.microsoft.com/office/drawing/2014/main" id="{D8F6E2A1-08BC-7410-C87A-62C63C9499B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1235" y="1939506"/>
            <a:ext cx="773976" cy="92040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18A8BAC-BE97-C99A-3874-173F4392E459}"/>
              </a:ext>
            </a:extLst>
          </p:cNvPr>
          <p:cNvSpPr txBox="1"/>
          <p:nvPr/>
        </p:nvSpPr>
        <p:spPr>
          <a:xfrm>
            <a:off x="10407654" y="29096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S 365</a:t>
            </a:r>
          </a:p>
        </p:txBody>
      </p:sp>
      <p:sp>
        <p:nvSpPr>
          <p:cNvPr id="17" name="Text Placeholder 14">
            <a:extLst>
              <a:ext uri="{FF2B5EF4-FFF2-40B4-BE49-F238E27FC236}">
                <a16:creationId xmlns:a16="http://schemas.microsoft.com/office/drawing/2014/main" id="{D3D1C23D-8AB9-9079-5D44-BF9B9AD2B595}"/>
              </a:ext>
            </a:extLst>
          </p:cNvPr>
          <p:cNvSpPr txBox="1">
            <a:spLocks/>
          </p:cNvSpPr>
          <p:nvPr/>
        </p:nvSpPr>
        <p:spPr>
          <a:xfrm>
            <a:off x="1052298" y="1336308"/>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ANGAUGES</a:t>
            </a:r>
          </a:p>
        </p:txBody>
      </p:sp>
      <p:sp>
        <p:nvSpPr>
          <p:cNvPr id="18" name="Text Placeholder 14">
            <a:extLst>
              <a:ext uri="{FF2B5EF4-FFF2-40B4-BE49-F238E27FC236}">
                <a16:creationId xmlns:a16="http://schemas.microsoft.com/office/drawing/2014/main" id="{32EF9311-8681-2245-F953-891B5F698D43}"/>
              </a:ext>
            </a:extLst>
          </p:cNvPr>
          <p:cNvSpPr txBox="1">
            <a:spLocks/>
          </p:cNvSpPr>
          <p:nvPr/>
        </p:nvSpPr>
        <p:spPr>
          <a:xfrm>
            <a:off x="5585163" y="1368787"/>
            <a:ext cx="133214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TOOLS</a:t>
            </a:r>
          </a:p>
        </p:txBody>
      </p:sp>
      <p:sp>
        <p:nvSpPr>
          <p:cNvPr id="19" name="Rectangle 18">
            <a:extLst>
              <a:ext uri="{FF2B5EF4-FFF2-40B4-BE49-F238E27FC236}">
                <a16:creationId xmlns:a16="http://schemas.microsoft.com/office/drawing/2014/main" id="{5ED98A2B-2E7B-1758-6F4D-DD30D8325ECB}"/>
              </a:ext>
            </a:extLst>
          </p:cNvPr>
          <p:cNvSpPr/>
          <p:nvPr/>
        </p:nvSpPr>
        <p:spPr>
          <a:xfrm>
            <a:off x="1062808" y="3533334"/>
            <a:ext cx="5403176"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4">
            <a:extLst>
              <a:ext uri="{FF2B5EF4-FFF2-40B4-BE49-F238E27FC236}">
                <a16:creationId xmlns:a16="http://schemas.microsoft.com/office/drawing/2014/main" id="{6F6ACA02-C44C-9D39-9F8B-1300422DA33B}"/>
              </a:ext>
            </a:extLst>
          </p:cNvPr>
          <p:cNvSpPr txBox="1">
            <a:spLocks/>
          </p:cNvSpPr>
          <p:nvPr/>
        </p:nvSpPr>
        <p:spPr>
          <a:xfrm>
            <a:off x="1058136" y="3528874"/>
            <a:ext cx="1990054"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LIBRARIES</a:t>
            </a:r>
          </a:p>
        </p:txBody>
      </p:sp>
      <p:pic>
        <p:nvPicPr>
          <p:cNvPr id="1033" name="Picture 9">
            <a:extLst>
              <a:ext uri="{FF2B5EF4-FFF2-40B4-BE49-F238E27FC236}">
                <a16:creationId xmlns:a16="http://schemas.microsoft.com/office/drawing/2014/main" id="{367B25B2-4152-1F4B-96CE-36B717F20D3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79955" y="3997856"/>
            <a:ext cx="1847074" cy="99424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FC8C07B6-DF25-F871-E152-999196D461E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92004" y="3974580"/>
            <a:ext cx="1081998" cy="1081998"/>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AF6A08BE-6DA4-DE6F-6386-5869A1535E8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4511" b="29270"/>
          <a:stretch/>
        </p:blipFill>
        <p:spPr bwMode="auto">
          <a:xfrm>
            <a:off x="4596275" y="3905438"/>
            <a:ext cx="1647435" cy="1220281"/>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a:extLst>
              <a:ext uri="{FF2B5EF4-FFF2-40B4-BE49-F238E27FC236}">
                <a16:creationId xmlns:a16="http://schemas.microsoft.com/office/drawing/2014/main" id="{0A2B5225-812E-24DD-7F71-8293BDF133D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62237"/>
          <a:stretch/>
        </p:blipFill>
        <p:spPr bwMode="auto">
          <a:xfrm>
            <a:off x="3236119" y="5473633"/>
            <a:ext cx="1195859" cy="1115008"/>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a:extLst>
              <a:ext uri="{FF2B5EF4-FFF2-40B4-BE49-F238E27FC236}">
                <a16:creationId xmlns:a16="http://schemas.microsoft.com/office/drawing/2014/main" id="{4C5EAC25-AD21-3725-624D-06DEAD161668}"/>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76287"/>
          <a:stretch/>
        </p:blipFill>
        <p:spPr bwMode="auto">
          <a:xfrm>
            <a:off x="1746801" y="5176278"/>
            <a:ext cx="1034191" cy="1761557"/>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a:extLst>
              <a:ext uri="{FF2B5EF4-FFF2-40B4-BE49-F238E27FC236}">
                <a16:creationId xmlns:a16="http://schemas.microsoft.com/office/drawing/2014/main" id="{713EE445-40FE-530A-7439-FA525CFD9FF3}"/>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r="62842"/>
          <a:stretch/>
        </p:blipFill>
        <p:spPr bwMode="auto">
          <a:xfrm>
            <a:off x="4737160" y="5237868"/>
            <a:ext cx="1269059" cy="153616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F2A12BC-EA1D-2FA1-BD05-A844B8C5626F}"/>
              </a:ext>
            </a:extLst>
          </p:cNvPr>
          <p:cNvSpPr txBox="1"/>
          <p:nvPr/>
        </p:nvSpPr>
        <p:spPr>
          <a:xfrm>
            <a:off x="1421196" y="5051754"/>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err="1">
                <a:latin typeface="+mj-lt"/>
              </a:rPr>
              <a:t>SKLearn</a:t>
            </a:r>
            <a:endParaRPr lang="en-US" sz="1500" b="1" dirty="0">
              <a:latin typeface="+mj-lt"/>
            </a:endParaRPr>
          </a:p>
        </p:txBody>
      </p:sp>
      <p:sp>
        <p:nvSpPr>
          <p:cNvPr id="10" name="TextBox 9">
            <a:extLst>
              <a:ext uri="{FF2B5EF4-FFF2-40B4-BE49-F238E27FC236}">
                <a16:creationId xmlns:a16="http://schemas.microsoft.com/office/drawing/2014/main" id="{446CA358-2545-EEBC-3898-17BE9A382249}"/>
              </a:ext>
            </a:extLst>
          </p:cNvPr>
          <p:cNvSpPr txBox="1"/>
          <p:nvPr/>
        </p:nvSpPr>
        <p:spPr>
          <a:xfrm>
            <a:off x="2925784" y="5065397"/>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Matplotlib</a:t>
            </a:r>
          </a:p>
        </p:txBody>
      </p:sp>
      <p:sp>
        <p:nvSpPr>
          <p:cNvPr id="11" name="TextBox 10">
            <a:extLst>
              <a:ext uri="{FF2B5EF4-FFF2-40B4-BE49-F238E27FC236}">
                <a16:creationId xmlns:a16="http://schemas.microsoft.com/office/drawing/2014/main" id="{D0D17AD6-93C5-DBEA-0CC9-B31DB4BAC156}"/>
              </a:ext>
            </a:extLst>
          </p:cNvPr>
          <p:cNvSpPr txBox="1"/>
          <p:nvPr/>
        </p:nvSpPr>
        <p:spPr>
          <a:xfrm>
            <a:off x="4509041" y="5083153"/>
            <a:ext cx="1842116"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500" b="1" dirty="0">
                <a:latin typeface="+mj-lt"/>
              </a:rPr>
              <a:t>Seaborn</a:t>
            </a:r>
          </a:p>
        </p:txBody>
      </p:sp>
      <p:sp>
        <p:nvSpPr>
          <p:cNvPr id="23" name="Rectangle 22">
            <a:extLst>
              <a:ext uri="{FF2B5EF4-FFF2-40B4-BE49-F238E27FC236}">
                <a16:creationId xmlns:a16="http://schemas.microsoft.com/office/drawing/2014/main" id="{3230D977-873D-4964-6608-B987A995D1FA}"/>
              </a:ext>
            </a:extLst>
          </p:cNvPr>
          <p:cNvSpPr/>
          <p:nvPr/>
        </p:nvSpPr>
        <p:spPr>
          <a:xfrm>
            <a:off x="6656339" y="3533334"/>
            <a:ext cx="5230860" cy="3231883"/>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14">
            <a:extLst>
              <a:ext uri="{FF2B5EF4-FFF2-40B4-BE49-F238E27FC236}">
                <a16:creationId xmlns:a16="http://schemas.microsoft.com/office/drawing/2014/main" id="{723A7A75-D172-DB23-386C-5CE45FDDAB18}"/>
              </a:ext>
            </a:extLst>
          </p:cNvPr>
          <p:cNvSpPr txBox="1">
            <a:spLocks/>
          </p:cNvSpPr>
          <p:nvPr/>
        </p:nvSpPr>
        <p:spPr>
          <a:xfrm>
            <a:off x="6651667" y="3528874"/>
            <a:ext cx="1926588" cy="485604"/>
          </a:xfrm>
          <a:prstGeom prst="rect">
            <a:avLst/>
          </a:prstGeom>
        </p:spPr>
        <p:txBody>
          <a:bodyPr/>
          <a:lstStyle>
            <a:lvl1pPr marL="0" marR="0" indent="0" algn="l" defTabSz="412740" eaLnBrk="1" latinLnBrk="0" hangingPunct="1">
              <a:lnSpc>
                <a:spcPct val="110000"/>
              </a:lnSpc>
              <a:spcBef>
                <a:spcPts val="0"/>
              </a:spcBef>
              <a:spcAft>
                <a:spcPts val="267"/>
              </a:spcAft>
              <a:buClrTx/>
              <a:buSzPct val="75000"/>
              <a:buFont typeface="Wingdings" pitchFamily="2" charset="2"/>
              <a:buNone/>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1pPr>
            <a:lvl2pPr marL="180975"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2pPr>
            <a:lvl3pPr marL="357188"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3pPr>
            <a:lvl4pPr marL="538163"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4pPr>
            <a:lvl5pPr marL="717550" marR="0" indent="-180975" algn="l" defTabSz="412740" eaLnBrk="1" latinLnBrk="0" hangingPunct="1">
              <a:lnSpc>
                <a:spcPct val="110000"/>
              </a:lnSpc>
              <a:spcBef>
                <a:spcPts val="0"/>
              </a:spcBef>
              <a:spcAft>
                <a:spcPts val="267"/>
              </a:spcAft>
              <a:buClrTx/>
              <a:buSzPct val="75000"/>
              <a:buFont typeface="Wingdings" pitchFamily="2" charset="2"/>
              <a:buChar char="§"/>
              <a:tabLst/>
              <a:defRPr sz="1400" b="0" i="0" u="none" strike="noStrike" cap="none" spc="0" baseline="0">
                <a:solidFill>
                  <a:schemeClr val="tx1"/>
                </a:solidFill>
                <a:uFillTx/>
                <a:latin typeface="HEINEKEN Core" panose="02000503050000020004" pitchFamily="2" charset="0"/>
                <a:ea typeface="HEINEKEN Core" panose="02000503050000020004" pitchFamily="2" charset="0"/>
                <a:cs typeface="HEINEKEN Core" panose="02000503050000020004" pitchFamily="2" charset="0"/>
                <a:sym typeface="Helvetica Light"/>
              </a:defRPr>
            </a:lvl5pPr>
            <a:lvl6pPr marL="1904952"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6pPr>
            <a:lvl7pPr marL="2222444"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7pPr>
            <a:lvl8pPr marL="2539937"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8pPr>
            <a:lvl9pPr marL="2857429" marR="0" indent="-317492" algn="l" defTabSz="412740" eaLnBrk="1" latinLnBrk="0" hangingPunct="1">
              <a:lnSpc>
                <a:spcPct val="100000"/>
              </a:lnSpc>
              <a:spcBef>
                <a:spcPts val="2600"/>
              </a:spcBef>
              <a:spcAft>
                <a:spcPts val="0"/>
              </a:spcAft>
              <a:buClrTx/>
              <a:buSzPct val="75000"/>
              <a:buFontTx/>
              <a:buChar char="•"/>
              <a:tabLst/>
              <a:defRPr sz="2600" b="0" i="0" u="none" strike="noStrike" cap="none" spc="0" baseline="0">
                <a:solidFill>
                  <a:srgbClr val="000000"/>
                </a:solidFill>
                <a:uFillTx/>
                <a:latin typeface="+mn-lt"/>
                <a:ea typeface="+mn-ea"/>
                <a:cs typeface="+mn-cs"/>
                <a:sym typeface="Helvetica Light"/>
              </a:defRPr>
            </a:lvl9pPr>
          </a:lstStyle>
          <a:p>
            <a:r>
              <a:rPr lang="en-US" sz="2000" b="1" dirty="0">
                <a:solidFill>
                  <a:schemeClr val="bg2"/>
                </a:solidFill>
                <a:latin typeface="Calibri" panose="020F0502020204030204" pitchFamily="34" charset="0"/>
                <a:ea typeface="Calibri" panose="020F0502020204030204" pitchFamily="34" charset="0"/>
                <a:cs typeface="Arial" panose="020B0604020202020204" pitchFamily="34" charset="0"/>
              </a:rPr>
              <a:t>FRAMEWORKS</a:t>
            </a:r>
          </a:p>
        </p:txBody>
      </p:sp>
      <p:pic>
        <p:nvPicPr>
          <p:cNvPr id="1049" name="Picture 25">
            <a:extLst>
              <a:ext uri="{FF2B5EF4-FFF2-40B4-BE49-F238E27FC236}">
                <a16:creationId xmlns:a16="http://schemas.microsoft.com/office/drawing/2014/main" id="{9B019978-5EBB-102B-460F-C6BFDADD1A3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841268" y="3949184"/>
            <a:ext cx="2481852" cy="2654519"/>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27" descr="Keras - Wikipedia">
            <a:extLst>
              <a:ext uri="{FF2B5EF4-FFF2-40B4-BE49-F238E27FC236}">
                <a16:creationId xmlns:a16="http://schemas.microsoft.com/office/drawing/2014/main" id="{09B18148-740B-76EF-673C-862650A58E46}"/>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181398" y="4011693"/>
            <a:ext cx="1261320" cy="1261320"/>
          </a:xfrm>
          <a:prstGeom prst="rect">
            <a:avLst/>
          </a:prstGeom>
          <a:noFill/>
          <a:extLst>
            <a:ext uri="{909E8E84-426E-40DD-AFC4-6F175D3DCCD1}">
              <a14:hiddenFill xmlns:a14="http://schemas.microsoft.com/office/drawing/2010/main">
                <a:solidFill>
                  <a:srgbClr val="FFFFFF"/>
                </a:solidFill>
              </a14:hiddenFill>
            </a:ext>
          </a:extLst>
        </p:spPr>
      </p:pic>
      <p:pic>
        <p:nvPicPr>
          <p:cNvPr id="1053" name="Picture 29">
            <a:extLst>
              <a:ext uri="{FF2B5EF4-FFF2-40B4-BE49-F238E27FC236}">
                <a16:creationId xmlns:a16="http://schemas.microsoft.com/office/drawing/2014/main" id="{8356CB44-EC3D-DC07-C3B2-9D60A0EEB73F}"/>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337439" y="5370584"/>
            <a:ext cx="1041758" cy="1261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74919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a:t>This is the </a:t>
            </a:r>
            <a:br>
              <a:rPr lang="en-US"/>
            </a:br>
            <a:r>
              <a:rPr lang="en-US"/>
              <a:t>title for </a:t>
            </a:r>
            <a:br>
              <a:rPr lang="en-US"/>
            </a:br>
            <a:r>
              <a:rPr lang="en-US"/>
              <a:t>the cover</a:t>
            </a:r>
            <a:endParaRPr lang="nl-NL"/>
          </a:p>
        </p:txBody>
      </p:sp>
      <p:sp>
        <p:nvSpPr>
          <p:cNvPr id="5" name="Tijdelijke aanduiding voor tekst 4"/>
          <p:cNvSpPr>
            <a:spLocks noGrp="1"/>
          </p:cNvSpPr>
          <p:nvPr>
            <p:ph type="body" sz="quarter" idx="63"/>
          </p:nvPr>
        </p:nvSpPr>
        <p:spPr/>
        <p:txBody>
          <a:bodyPr/>
          <a:lstStyle/>
          <a:p>
            <a:r>
              <a:rPr lang="nl-NL"/>
              <a:t>Name presenter</a:t>
            </a:r>
          </a:p>
        </p:txBody>
      </p:sp>
    </p:spTree>
    <p:extLst>
      <p:ext uri="{BB962C8B-B14F-4D97-AF65-F5344CB8AC3E}">
        <p14:creationId xmlns:p14="http://schemas.microsoft.com/office/powerpoint/2010/main" val="34510657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close-up of some leaves&#10;&#10;Description automatically generated with medium confidence">
            <a:extLst>
              <a:ext uri="{FF2B5EF4-FFF2-40B4-BE49-F238E27FC236}">
                <a16:creationId xmlns:a16="http://schemas.microsoft.com/office/drawing/2014/main" id="{30384015-6D00-7426-DCA4-934FD0A60A69}"/>
              </a:ext>
            </a:extLst>
          </p:cNvPr>
          <p:cNvPicPr>
            <a:picLocks noGrp="1" noChangeAspect="1"/>
          </p:cNvPicPr>
          <p:nvPr>
            <p:ph type="pic" sz="quarter" idx="64"/>
          </p:nvPr>
        </p:nvPicPr>
        <p:blipFill>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3E03A014-9F0D-98FC-32FA-190C52A42019}"/>
              </a:ext>
            </a:extLst>
          </p:cNvPr>
          <p:cNvSpPr>
            <a:spLocks noGrp="1"/>
          </p:cNvSpPr>
          <p:nvPr>
            <p:ph type="title"/>
          </p:nvPr>
        </p:nvSpPr>
        <p:spPr>
          <a:xfrm>
            <a:off x="927100" y="1609643"/>
            <a:ext cx="8802826" cy="3233291"/>
          </a:xfrm>
        </p:spPr>
        <p:txBody>
          <a:bodyPr/>
          <a:lstStyle/>
          <a:p>
            <a:r>
              <a:rPr lang="en-US" sz="5400" dirty="0"/>
              <a:t>PROJECT INTRODUCTION</a:t>
            </a:r>
            <a:endParaRPr lang="de-DE" sz="5400" dirty="0"/>
          </a:p>
        </p:txBody>
      </p:sp>
      <p:sp>
        <p:nvSpPr>
          <p:cNvPr id="5" name="Text Placeholder 4">
            <a:extLst>
              <a:ext uri="{FF2B5EF4-FFF2-40B4-BE49-F238E27FC236}">
                <a16:creationId xmlns:a16="http://schemas.microsoft.com/office/drawing/2014/main" id="{9E431F0F-FF18-17D3-2E26-FE0321670AA8}"/>
              </a:ext>
            </a:extLst>
          </p:cNvPr>
          <p:cNvSpPr>
            <a:spLocks noGrp="1"/>
          </p:cNvSpPr>
          <p:nvPr>
            <p:ph type="body" sz="quarter" idx="63"/>
          </p:nvPr>
        </p:nvSpPr>
        <p:spPr>
          <a:xfrm>
            <a:off x="926891" y="4848000"/>
            <a:ext cx="10125807" cy="860341"/>
          </a:xfrm>
        </p:spPr>
        <p:txBody>
          <a:bodyPr>
            <a:normAutofit/>
          </a:bodyPr>
          <a:lstStyle/>
          <a:p>
            <a:r>
              <a:rPr lang="nl-NL" b="1" dirty="0"/>
              <a:t>Trade Program Optimization &amp; Customer Targeting Recommendation</a:t>
            </a:r>
          </a:p>
        </p:txBody>
      </p:sp>
      <p:sp>
        <p:nvSpPr>
          <p:cNvPr id="12" name="Slide Number Placeholder 11">
            <a:extLst>
              <a:ext uri="{FF2B5EF4-FFF2-40B4-BE49-F238E27FC236}">
                <a16:creationId xmlns:a16="http://schemas.microsoft.com/office/drawing/2014/main" id="{976B5F6B-C6D0-2E6E-BCF5-9122B1217670}"/>
              </a:ext>
            </a:extLst>
          </p:cNvPr>
          <p:cNvSpPr>
            <a:spLocks noGrp="1"/>
          </p:cNvSpPr>
          <p:nvPr>
            <p:ph type="sldNum" sz="quarter" idx="4"/>
          </p:nvPr>
        </p:nvSpPr>
        <p:spPr/>
        <p:txBody>
          <a:bodyPr/>
          <a:lstStyle/>
          <a:p>
            <a:fld id="{F7D798F7-A0AD-A14E-8CE9-57071D50F00B}" type="slidenum">
              <a:rPr lang="de-DE"/>
              <a:pPr/>
              <a:t>3</a:t>
            </a:fld>
            <a:endParaRPr lang="de-DE"/>
          </a:p>
        </p:txBody>
      </p:sp>
      <p:pic>
        <p:nvPicPr>
          <p:cNvPr id="2" name="Picture 1">
            <a:extLst>
              <a:ext uri="{FF2B5EF4-FFF2-40B4-BE49-F238E27FC236}">
                <a16:creationId xmlns:a16="http://schemas.microsoft.com/office/drawing/2014/main" id="{51E93A66-B153-8852-53E4-07A339CD256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66627" y="-38065"/>
            <a:ext cx="2428875" cy="1214755"/>
          </a:xfrm>
          <a:prstGeom prst="rect">
            <a:avLst/>
          </a:prstGeom>
          <a:noFill/>
          <a:ln>
            <a:noFill/>
          </a:ln>
        </p:spPr>
      </p:pic>
    </p:spTree>
    <p:extLst>
      <p:ext uri="{BB962C8B-B14F-4D97-AF65-F5344CB8AC3E}">
        <p14:creationId xmlns:p14="http://schemas.microsoft.com/office/powerpoint/2010/main" val="223810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736E829-714B-298F-7CF3-82415E043E6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pic>
        <p:nvPicPr>
          <p:cNvPr id="8" name="Picture 7">
            <a:extLst>
              <a:ext uri="{FF2B5EF4-FFF2-40B4-BE49-F238E27FC236}">
                <a16:creationId xmlns:a16="http://schemas.microsoft.com/office/drawing/2014/main" id="{8B124F51-E14E-DC8D-8100-E1E9FA48C86B}"/>
              </a:ext>
            </a:extLst>
          </p:cNvPr>
          <p:cNvPicPr>
            <a:picLocks noChangeAspect="1"/>
          </p:cNvPicPr>
          <p:nvPr/>
        </p:nvPicPr>
        <p:blipFill>
          <a:blip r:embed="rId3"/>
          <a:stretch>
            <a:fillRect/>
          </a:stretch>
        </p:blipFill>
        <p:spPr>
          <a:xfrm>
            <a:off x="0" y="878395"/>
            <a:ext cx="12192000" cy="5491827"/>
          </a:xfrm>
          <a:prstGeom prst="rect">
            <a:avLst/>
          </a:prstGeom>
        </p:spPr>
      </p:pic>
      <p:sp>
        <p:nvSpPr>
          <p:cNvPr id="9" name="Rectangle 8">
            <a:extLst>
              <a:ext uri="{FF2B5EF4-FFF2-40B4-BE49-F238E27FC236}">
                <a16:creationId xmlns:a16="http://schemas.microsoft.com/office/drawing/2014/main" id="{1E1C5D32-994B-DDFB-A485-F46AF9D16241}"/>
              </a:ext>
            </a:extLst>
          </p:cNvPr>
          <p:cNvSpPr/>
          <p:nvPr/>
        </p:nvSpPr>
        <p:spPr>
          <a:xfrm>
            <a:off x="96498" y="5903650"/>
            <a:ext cx="702492" cy="639193"/>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spTree>
    <p:extLst>
      <p:ext uri="{BB962C8B-B14F-4D97-AF65-F5344CB8AC3E}">
        <p14:creationId xmlns:p14="http://schemas.microsoft.com/office/powerpoint/2010/main" val="211583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736E829-714B-298F-7CF3-82415E043E6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9" name="Rectangle 8">
            <a:extLst>
              <a:ext uri="{FF2B5EF4-FFF2-40B4-BE49-F238E27FC236}">
                <a16:creationId xmlns:a16="http://schemas.microsoft.com/office/drawing/2014/main" id="{1E1C5D32-994B-DDFB-A485-F46AF9D16241}"/>
              </a:ext>
            </a:extLst>
          </p:cNvPr>
          <p:cNvSpPr/>
          <p:nvPr/>
        </p:nvSpPr>
        <p:spPr>
          <a:xfrm>
            <a:off x="96498" y="5903650"/>
            <a:ext cx="702492" cy="639193"/>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Light"/>
            </a:endParaRPr>
          </a:p>
        </p:txBody>
      </p:sp>
      <p:pic>
        <p:nvPicPr>
          <p:cNvPr id="6" name="Picture 5">
            <a:extLst>
              <a:ext uri="{FF2B5EF4-FFF2-40B4-BE49-F238E27FC236}">
                <a16:creationId xmlns:a16="http://schemas.microsoft.com/office/drawing/2014/main" id="{639B95B2-3F16-3C2E-ABB6-59A391584417}"/>
              </a:ext>
            </a:extLst>
          </p:cNvPr>
          <p:cNvPicPr>
            <a:picLocks noChangeAspect="1"/>
          </p:cNvPicPr>
          <p:nvPr/>
        </p:nvPicPr>
        <p:blipFill>
          <a:blip r:embed="rId3"/>
          <a:stretch>
            <a:fillRect/>
          </a:stretch>
        </p:blipFill>
        <p:spPr>
          <a:xfrm>
            <a:off x="0" y="708341"/>
            <a:ext cx="12192000" cy="5441317"/>
          </a:xfrm>
          <a:prstGeom prst="rect">
            <a:avLst/>
          </a:prstGeom>
        </p:spPr>
      </p:pic>
    </p:spTree>
    <p:extLst>
      <p:ext uri="{BB962C8B-B14F-4D97-AF65-F5344CB8AC3E}">
        <p14:creationId xmlns:p14="http://schemas.microsoft.com/office/powerpoint/2010/main" val="205027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82;p15"/>
          <p:cNvSpPr txBox="1">
            <a:spLocks/>
          </p:cNvSpPr>
          <p:nvPr/>
        </p:nvSpPr>
        <p:spPr>
          <a:xfrm>
            <a:off x="373578" y="320886"/>
            <a:ext cx="11229836" cy="63345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9pPr>
          </a:lstStyle>
          <a:p>
            <a:pPr algn="l" defTabSz="914400"/>
            <a:r>
              <a:rPr lang="en-US" sz="2400" b="1" dirty="0">
                <a:solidFill>
                  <a:schemeClr val="accent4"/>
                </a:solidFill>
                <a:latin typeface="+mn-lt"/>
                <a:ea typeface="Fjalla One"/>
                <a:cs typeface="Fjalla One"/>
                <a:sym typeface="Fjalla One"/>
              </a:rPr>
              <a:t>HEINEKEN </a:t>
            </a:r>
            <a:r>
              <a:rPr lang="en-US" sz="2400" b="1" kern="0" dirty="0">
                <a:solidFill>
                  <a:schemeClr val="accent4"/>
                </a:solidFill>
                <a:latin typeface="+mn-lt"/>
                <a:ea typeface="Fjalla One"/>
                <a:cs typeface="Fjalla One"/>
                <a:sym typeface="Fjalla One"/>
              </a:rPr>
              <a:t>Trade Program Marketing Running </a:t>
            </a:r>
          </a:p>
        </p:txBody>
      </p:sp>
      <p:pic>
        <p:nvPicPr>
          <p:cNvPr id="5" name="Picture 4"/>
          <p:cNvPicPr>
            <a:picLocks noChangeAspect="1"/>
          </p:cNvPicPr>
          <p:nvPr/>
        </p:nvPicPr>
        <p:blipFill>
          <a:blip r:embed="rId3"/>
          <a:stretch>
            <a:fillRect/>
          </a:stretch>
        </p:blipFill>
        <p:spPr>
          <a:xfrm>
            <a:off x="534588" y="1287925"/>
            <a:ext cx="2906381" cy="2530094"/>
          </a:xfrm>
          <a:prstGeom prst="rect">
            <a:avLst/>
          </a:prstGeom>
          <a:ln>
            <a:noFill/>
          </a:ln>
          <a:effectLst>
            <a:softEdge rad="112500"/>
          </a:effectLst>
        </p:spPr>
      </p:pic>
      <p:pic>
        <p:nvPicPr>
          <p:cNvPr id="7" name="Picture 6"/>
          <p:cNvPicPr>
            <a:picLocks noChangeAspect="1"/>
          </p:cNvPicPr>
          <p:nvPr/>
        </p:nvPicPr>
        <p:blipFill>
          <a:blip r:embed="rId4"/>
          <a:stretch>
            <a:fillRect/>
          </a:stretch>
        </p:blipFill>
        <p:spPr>
          <a:xfrm>
            <a:off x="6303261" y="1287925"/>
            <a:ext cx="2569880" cy="1741148"/>
          </a:xfrm>
          <a:prstGeom prst="rect">
            <a:avLst/>
          </a:prstGeom>
          <a:ln>
            <a:noFill/>
          </a:ln>
          <a:effectLst>
            <a:softEdge rad="112500"/>
          </a:effectLst>
        </p:spPr>
      </p:pic>
      <p:pic>
        <p:nvPicPr>
          <p:cNvPr id="9" name="Picture 8"/>
          <p:cNvPicPr>
            <a:picLocks noChangeAspect="1"/>
          </p:cNvPicPr>
          <p:nvPr/>
        </p:nvPicPr>
        <p:blipFill>
          <a:blip r:embed="rId5"/>
          <a:stretch>
            <a:fillRect/>
          </a:stretch>
        </p:blipFill>
        <p:spPr>
          <a:xfrm>
            <a:off x="3467157" y="1269295"/>
            <a:ext cx="2612776" cy="3584625"/>
          </a:xfrm>
          <a:prstGeom prst="rect">
            <a:avLst/>
          </a:prstGeom>
          <a:ln>
            <a:noFill/>
          </a:ln>
          <a:effectLst>
            <a:softEdge rad="112500"/>
          </a:effectLst>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05896" y="4487045"/>
            <a:ext cx="1855436" cy="1684416"/>
          </a:xfrm>
          <a:prstGeom prst="rect">
            <a:avLst/>
          </a:prstGeom>
          <a:ln>
            <a:noFill/>
          </a:ln>
          <a:effectLst>
            <a:softEdge rad="112500"/>
          </a:effectLst>
        </p:spPr>
      </p:pic>
      <p:pic>
        <p:nvPicPr>
          <p:cNvPr id="11" name="Picture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77451" y="4970181"/>
            <a:ext cx="1523690" cy="1423166"/>
          </a:xfrm>
          <a:prstGeom prst="rect">
            <a:avLst/>
          </a:prstGeom>
          <a:ln>
            <a:noFill/>
          </a:ln>
          <a:effectLst>
            <a:softEdge rad="112500"/>
          </a:effectLst>
        </p:spPr>
      </p:pic>
      <p:pic>
        <p:nvPicPr>
          <p:cNvPr id="12" name="Picture 11">
            <a:extLst>
              <a:ext uri="{FF2B5EF4-FFF2-40B4-BE49-F238E27FC236}">
                <a16:creationId xmlns:a16="http://schemas.microsoft.com/office/drawing/2014/main" id="{3BC6F7F7-A568-46ED-9391-449A5EB3D5A6}"/>
              </a:ext>
            </a:extLst>
          </p:cNvPr>
          <p:cNvPicPr>
            <a:picLocks noChangeAspect="1"/>
          </p:cNvPicPr>
          <p:nvPr/>
        </p:nvPicPr>
        <p:blipFill>
          <a:blip r:embed="rId8"/>
          <a:stretch>
            <a:fillRect/>
          </a:stretch>
        </p:blipFill>
        <p:spPr>
          <a:xfrm>
            <a:off x="238137" y="3696022"/>
            <a:ext cx="2773599" cy="2277873"/>
          </a:xfrm>
          <a:prstGeom prst="rect">
            <a:avLst/>
          </a:prstGeom>
          <a:ln>
            <a:noFill/>
          </a:ln>
          <a:effectLst>
            <a:softEdge rad="112500"/>
          </a:effectLst>
        </p:spPr>
      </p:pic>
      <p:pic>
        <p:nvPicPr>
          <p:cNvPr id="6" name="Picture 5"/>
          <p:cNvPicPr>
            <a:picLocks noChangeAspect="1"/>
          </p:cNvPicPr>
          <p:nvPr/>
        </p:nvPicPr>
        <p:blipFill>
          <a:blip r:embed="rId9"/>
          <a:stretch>
            <a:fillRect/>
          </a:stretch>
        </p:blipFill>
        <p:spPr>
          <a:xfrm>
            <a:off x="1867684" y="3514072"/>
            <a:ext cx="1544476" cy="2678931"/>
          </a:xfrm>
          <a:prstGeom prst="rect">
            <a:avLst/>
          </a:prstGeom>
          <a:ln>
            <a:noFill/>
          </a:ln>
          <a:effectLst>
            <a:softEdge rad="112500"/>
          </a:effectLst>
        </p:spPr>
      </p:pic>
      <p:pic>
        <p:nvPicPr>
          <p:cNvPr id="21" name="Picture 20"/>
          <p:cNvPicPr>
            <a:picLocks noChangeAspect="1"/>
          </p:cNvPicPr>
          <p:nvPr/>
        </p:nvPicPr>
        <p:blipFill>
          <a:blip r:embed="rId10"/>
          <a:stretch>
            <a:fillRect/>
          </a:stretch>
        </p:blipFill>
        <p:spPr>
          <a:xfrm>
            <a:off x="9239348" y="1287925"/>
            <a:ext cx="2581634" cy="3639944"/>
          </a:xfrm>
          <a:prstGeom prst="rect">
            <a:avLst/>
          </a:prstGeom>
          <a:ln>
            <a:noFill/>
          </a:ln>
          <a:effectLst>
            <a:softEdge rad="112500"/>
          </a:effectLst>
        </p:spPr>
      </p:pic>
      <p:pic>
        <p:nvPicPr>
          <p:cNvPr id="22" name="Picture 21"/>
          <p:cNvPicPr>
            <a:picLocks noChangeAspect="1"/>
          </p:cNvPicPr>
          <p:nvPr/>
        </p:nvPicPr>
        <p:blipFill>
          <a:blip r:embed="rId11"/>
          <a:stretch>
            <a:fillRect/>
          </a:stretch>
        </p:blipFill>
        <p:spPr>
          <a:xfrm>
            <a:off x="9029069" y="4502287"/>
            <a:ext cx="3108491" cy="1916497"/>
          </a:xfrm>
          <a:prstGeom prst="rect">
            <a:avLst/>
          </a:prstGeom>
          <a:ln>
            <a:noFill/>
          </a:ln>
          <a:effectLst>
            <a:softEdge rad="112500"/>
          </a:effectLst>
        </p:spPr>
      </p:pic>
      <p:pic>
        <p:nvPicPr>
          <p:cNvPr id="24" name="Picture 23"/>
          <p:cNvPicPr>
            <a:picLocks noChangeAspect="1"/>
          </p:cNvPicPr>
          <p:nvPr/>
        </p:nvPicPr>
        <p:blipFill>
          <a:blip r:embed="rId12"/>
          <a:stretch>
            <a:fillRect/>
          </a:stretch>
        </p:blipFill>
        <p:spPr>
          <a:xfrm>
            <a:off x="6406214" y="2741278"/>
            <a:ext cx="2363974" cy="1545587"/>
          </a:xfrm>
          <a:prstGeom prst="rect">
            <a:avLst/>
          </a:prstGeom>
          <a:ln>
            <a:noFill/>
          </a:ln>
          <a:effectLst>
            <a:softEdge rad="112500"/>
          </a:effectLst>
        </p:spPr>
      </p:pic>
      <p:pic>
        <p:nvPicPr>
          <p:cNvPr id="8" name="Picture 7"/>
          <p:cNvPicPr>
            <a:picLocks noChangeAspect="1"/>
          </p:cNvPicPr>
          <p:nvPr/>
        </p:nvPicPr>
        <p:blipFill>
          <a:blip r:embed="rId13"/>
          <a:stretch>
            <a:fillRect/>
          </a:stretch>
        </p:blipFill>
        <p:spPr>
          <a:xfrm>
            <a:off x="6606621" y="3818019"/>
            <a:ext cx="1952466" cy="2651855"/>
          </a:xfrm>
          <a:prstGeom prst="rect">
            <a:avLst/>
          </a:prstGeom>
          <a:ln>
            <a:noFill/>
          </a:ln>
          <a:effectLst>
            <a:softEdge rad="112500"/>
          </a:effectLst>
        </p:spPr>
      </p:pic>
    </p:spTree>
    <p:extLst>
      <p:ext uri="{BB962C8B-B14F-4D97-AF65-F5344CB8AC3E}">
        <p14:creationId xmlns:p14="http://schemas.microsoft.com/office/powerpoint/2010/main" val="2546252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2747FD-1C4B-DB3E-BEF7-36730B567FB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le 2">
            <a:extLst>
              <a:ext uri="{FF2B5EF4-FFF2-40B4-BE49-F238E27FC236}">
                <a16:creationId xmlns:a16="http://schemas.microsoft.com/office/drawing/2014/main" id="{E0BD5093-B7A6-3F5C-BE82-C39C446A96A8}"/>
              </a:ext>
            </a:extLst>
          </p:cNvPr>
          <p:cNvSpPr>
            <a:spLocks noGrp="1"/>
          </p:cNvSpPr>
          <p:nvPr>
            <p:ph type="title"/>
          </p:nvPr>
        </p:nvSpPr>
        <p:spPr>
          <a:xfrm>
            <a:off x="927100" y="1153531"/>
            <a:ext cx="4486963" cy="3233291"/>
          </a:xfrm>
        </p:spPr>
        <p:txBody>
          <a:bodyPr/>
          <a:lstStyle/>
          <a:p>
            <a:r>
              <a:rPr lang="en-US" dirty="0"/>
              <a:t>Long Process &amp; Alignment to Proceed the Trade Marketing Plan</a:t>
            </a:r>
          </a:p>
        </p:txBody>
      </p:sp>
      <p:sp>
        <p:nvSpPr>
          <p:cNvPr id="6" name="Text Placeholder 5">
            <a:extLst>
              <a:ext uri="{FF2B5EF4-FFF2-40B4-BE49-F238E27FC236}">
                <a16:creationId xmlns:a16="http://schemas.microsoft.com/office/drawing/2014/main" id="{2C1688F7-79E1-74BF-1382-7D09241AFFDE}"/>
              </a:ext>
            </a:extLst>
          </p:cNvPr>
          <p:cNvSpPr>
            <a:spLocks noGrp="1"/>
          </p:cNvSpPr>
          <p:nvPr>
            <p:ph type="body" sz="quarter" idx="63"/>
          </p:nvPr>
        </p:nvSpPr>
        <p:spPr>
          <a:xfrm>
            <a:off x="927100" y="4386822"/>
            <a:ext cx="4486963" cy="516732"/>
          </a:xfrm>
        </p:spPr>
        <p:txBody>
          <a:bodyPr/>
          <a:lstStyle/>
          <a:p>
            <a:r>
              <a:rPr lang="en-US" dirty="0"/>
              <a:t>Problem &amp; Issue</a:t>
            </a:r>
          </a:p>
        </p:txBody>
      </p:sp>
    </p:spTree>
    <p:extLst>
      <p:ext uri="{BB962C8B-B14F-4D97-AF65-F5344CB8AC3E}">
        <p14:creationId xmlns:p14="http://schemas.microsoft.com/office/powerpoint/2010/main" val="296820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A11E91-1F58-230D-B52B-BD98CBC684C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6627" y="-132333"/>
            <a:ext cx="2428875" cy="1214755"/>
          </a:xfrm>
          <a:prstGeom prst="rect">
            <a:avLst/>
          </a:prstGeom>
          <a:noFill/>
          <a:ln>
            <a:noFill/>
          </a:ln>
        </p:spPr>
      </p:pic>
      <p:sp>
        <p:nvSpPr>
          <p:cNvPr id="3" name="Titel 3">
            <a:extLst>
              <a:ext uri="{FF2B5EF4-FFF2-40B4-BE49-F238E27FC236}">
                <a16:creationId xmlns:a16="http://schemas.microsoft.com/office/drawing/2014/main" id="{8EB9F8E2-FCD7-9871-1428-25A84BE9AC58}"/>
              </a:ext>
            </a:extLst>
          </p:cNvPr>
          <p:cNvSpPr txBox="1">
            <a:spLocks/>
          </p:cNvSpPr>
          <p:nvPr/>
        </p:nvSpPr>
        <p:spPr>
          <a:xfrm>
            <a:off x="1211394" y="387649"/>
            <a:ext cx="4221740" cy="694773"/>
          </a:xfrm>
          <a:prstGeom prst="rect">
            <a:avLst/>
          </a:prstGeom>
        </p:spPr>
        <p:txBody>
          <a:bodyPr/>
          <a:lstStyle>
            <a:lvl1pPr marL="0" marR="0" indent="0" algn="ctr" defTabSz="412740" rtl="0" eaLnBrk="1" latinLnBrk="0" hangingPunct="1">
              <a:lnSpc>
                <a:spcPct val="100000"/>
              </a:lnSpc>
              <a:spcBef>
                <a:spcPts val="0"/>
              </a:spcBef>
              <a:spcAft>
                <a:spcPts val="0"/>
              </a:spcAft>
              <a:buClrTx/>
              <a:buSzTx/>
              <a:buFontTx/>
              <a:buNone/>
              <a:tabLst/>
              <a:defRPr kumimoji="0" lang="de-DE" sz="3000" b="1" i="0" u="none" strike="noStrike" kern="3000" cap="none" spc="0" normalizeH="0" baseline="0">
                <a:ln>
                  <a:noFill/>
                </a:ln>
                <a:solidFill>
                  <a:schemeClr val="tx1"/>
                </a:solidFill>
                <a:effectLst/>
                <a:uFillTx/>
                <a:latin typeface="HEINEKEN Core ExtraBold" panose="02000503050000020004" pitchFamily="2" charset="0"/>
                <a:ea typeface="Montserrat ExtraBold" charset="0"/>
                <a:cs typeface="Montserrat ExtraBold" charset="0"/>
                <a:sym typeface="Helvetica Light"/>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Light"/>
              </a:defRPr>
            </a:lvl9pPr>
          </a:lstStyle>
          <a:p>
            <a:pPr algn="l"/>
            <a:r>
              <a:rPr lang="nl-NL" dirty="0"/>
              <a:t>OBJECTIVES</a:t>
            </a:r>
          </a:p>
        </p:txBody>
      </p:sp>
      <p:sp>
        <p:nvSpPr>
          <p:cNvPr id="9" name="TextBox 8">
            <a:extLst>
              <a:ext uri="{FF2B5EF4-FFF2-40B4-BE49-F238E27FC236}">
                <a16:creationId xmlns:a16="http://schemas.microsoft.com/office/drawing/2014/main" id="{986D915E-055C-A50F-6EE2-5DB0D770D48A}"/>
              </a:ext>
            </a:extLst>
          </p:cNvPr>
          <p:cNvSpPr txBox="1"/>
          <p:nvPr/>
        </p:nvSpPr>
        <p:spPr>
          <a:xfrm>
            <a:off x="1211394" y="1226286"/>
            <a:ext cx="10560396" cy="38927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en-US" sz="1800" b="0" i="0" u="none" strike="noStrike" dirty="0">
                <a:solidFill>
                  <a:srgbClr val="1F2E00"/>
                </a:solidFill>
                <a:effectLst/>
                <a:latin typeface="+mj-lt"/>
              </a:rPr>
              <a:t>To finetune customer targeting in order to leverage the effectiveness of the trade term program. To apply analytics model in order to uncover any hidden gaps in master data and trade term is the selected case for this study.</a:t>
            </a:r>
            <a:r>
              <a:rPr lang="en-US" sz="1800" b="0" i="0" dirty="0">
                <a:solidFill>
                  <a:srgbClr val="000000"/>
                </a:solidFill>
                <a:effectLst/>
                <a:latin typeface="+mj-lt"/>
              </a:rPr>
              <a:t> </a:t>
            </a: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Thus Data &amp; Analytic Team has come up an idea to assist TM to solve this out to increase the sell volume and company KPI as well. The objectives would be:</a:t>
            </a:r>
          </a:p>
          <a:p>
            <a:pPr algn="l"/>
            <a:endParaRPr lang="en-US" sz="1800" dirty="0">
              <a:effectLst/>
              <a:latin typeface="Calibri" panose="020F0502020204030204" pitchFamily="34" charset="0"/>
              <a:ea typeface="Calibri" panose="020F0502020204030204" pitchFamily="34" charset="0"/>
              <a:cs typeface="DaunPenh" panose="01010101010101010101" pitchFamily="2"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trade program targeting effectively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ncrease the sell volume and profit generate by trade program optimization model</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Understand the customer’s performance &amp; behavior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800"/>
              </a:spcAft>
              <a:buFont typeface="Symbol" panose="05050102010706020507" pitchFamily="18" charset="2"/>
              <a:buChar char=""/>
            </a:pPr>
            <a:r>
              <a:rPr lang="en-US" sz="1800" dirty="0">
                <a:solidFill>
                  <a:srgbClr val="000000"/>
                </a:solidFill>
                <a:effectLst/>
                <a:latin typeface="HEINEKEN Core" panose="02000503050000020004" pitchFamily="2" charset="0"/>
                <a:ea typeface="Calibri" panose="020F0502020204030204" pitchFamily="34" charset="0"/>
                <a:cs typeface="Arial" panose="020B0604020202020204" pitchFamily="34" charset="0"/>
              </a:rPr>
              <a:t>Improve the master data and data model &amp; what the need to push master data help the trade program targe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800" b="0" i="0" dirty="0">
              <a:solidFill>
                <a:srgbClr val="000000"/>
              </a:solidFill>
              <a:effectLst/>
              <a:latin typeface="+mj-lt"/>
            </a:endParaRPr>
          </a:p>
          <a:p>
            <a:pPr algn="l"/>
            <a:endParaRPr lang="en-US" sz="1800" dirty="0">
              <a:latin typeface="+mj-lt"/>
            </a:endParaRPr>
          </a:p>
          <a:p>
            <a:pPr algn="l"/>
            <a:endParaRPr lang="en-US" sz="1800" dirty="0">
              <a:latin typeface="+mj-lt"/>
            </a:endParaRPr>
          </a:p>
        </p:txBody>
      </p:sp>
    </p:spTree>
    <p:extLst>
      <p:ext uri="{BB962C8B-B14F-4D97-AF65-F5344CB8AC3E}">
        <p14:creationId xmlns:p14="http://schemas.microsoft.com/office/powerpoint/2010/main" val="371592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3B212-F10D-EFE6-B6CF-6EC1B98DB0ED}"/>
              </a:ext>
            </a:extLst>
          </p:cNvPr>
          <p:cNvSpPr>
            <a:spLocks noGrp="1"/>
          </p:cNvSpPr>
          <p:nvPr>
            <p:ph type="title"/>
          </p:nvPr>
        </p:nvSpPr>
        <p:spPr/>
        <p:txBody>
          <a:bodyPr/>
          <a:lstStyle/>
          <a:p>
            <a:r>
              <a:rPr lang="de-DE" spc="600" dirty="0"/>
              <a:t>HYPOTHESIS AND RESEARCH QUESTIONS</a:t>
            </a:r>
          </a:p>
        </p:txBody>
      </p:sp>
      <p:pic>
        <p:nvPicPr>
          <p:cNvPr id="4" name="Picture Placeholder 9" descr="A close-up of some leaves&#10;&#10;Description automatically generated with medium confidence">
            <a:extLst>
              <a:ext uri="{FF2B5EF4-FFF2-40B4-BE49-F238E27FC236}">
                <a16:creationId xmlns:a16="http://schemas.microsoft.com/office/drawing/2014/main" id="{D973DFBE-1DE0-11CF-78C1-BB3DA30EBB7A}"/>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a:stretch>
            <a:fillRect/>
          </a:stretch>
        </p:blipFill>
        <p:spPr/>
      </p:pic>
      <p:sp>
        <p:nvSpPr>
          <p:cNvPr id="5" name="Slide Number Placeholder 4">
            <a:extLst>
              <a:ext uri="{FF2B5EF4-FFF2-40B4-BE49-F238E27FC236}">
                <a16:creationId xmlns:a16="http://schemas.microsoft.com/office/drawing/2014/main" id="{8FE607D3-8DEA-63F7-707F-1F96B3A83709}"/>
              </a:ext>
            </a:extLst>
          </p:cNvPr>
          <p:cNvSpPr>
            <a:spLocks noGrp="1"/>
          </p:cNvSpPr>
          <p:nvPr>
            <p:ph type="sldNum" sz="quarter" idx="4"/>
          </p:nvPr>
        </p:nvSpPr>
        <p:spPr/>
        <p:txBody>
          <a:bodyPr/>
          <a:lstStyle/>
          <a:p>
            <a:fld id="{F7D798F7-A0AD-A14E-8CE9-57071D50F00B}" type="slidenum">
              <a:rPr lang="de-DE"/>
              <a:pPr/>
              <a:t>9</a:t>
            </a:fld>
            <a:endParaRPr lang="de-DE"/>
          </a:p>
        </p:txBody>
      </p:sp>
    </p:spTree>
    <p:extLst>
      <p:ext uri="{BB962C8B-B14F-4D97-AF65-F5344CB8AC3E}">
        <p14:creationId xmlns:p14="http://schemas.microsoft.com/office/powerpoint/2010/main" val="250622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422gliS6BY.CZ1j_FBYB.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zea9lIr37yyC1cAM.Rb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Ug5E5Q7hFaqfnWvZC5y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xyx4E8A9OSxO3pP5Co8W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1dQCdhMowF4qAXCXrQAi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CXAzXDpxDT2MFOKj6hVZ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BxcuofGSAQSGfcK6ROeC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qq8_dv20RtOlELvschS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ZPJ1lPlJcZcFxI3xP6b9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kbs6KMA3eQyNQQbow2k_g"/>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AS_UNIQUEID" val="24965"/>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_rels/theme4.xml.rels><?xml version="1.0" encoding="UTF-8" standalone="yes"?>
<Relationships xmlns="http://schemas.openxmlformats.org/package/2006/relationships"><Relationship Id="rId1" Type="http://schemas.openxmlformats.org/officeDocument/2006/relationships/image" Target="../media/image27.png"/></Relationships>
</file>

<file path=ppt/theme/theme1.xml><?xml version="1.0" encoding="utf-8"?>
<a:theme xmlns:a="http://schemas.openxmlformats.org/drawingml/2006/main" name="DT Template *NEW*">
  <a:themeElements>
    <a:clrScheme name="Custom 32">
      <a:dk1>
        <a:srgbClr val="017E01"/>
      </a:dk1>
      <a:lt1>
        <a:srgbClr val="2EC246"/>
      </a:lt1>
      <a:dk2>
        <a:srgbClr val="FFFFFF"/>
      </a:dk2>
      <a:lt2>
        <a:srgbClr val="000000"/>
      </a:lt2>
      <a:accent1>
        <a:srgbClr val="FF0000"/>
      </a:accent1>
      <a:accent2>
        <a:srgbClr val="33669A"/>
      </a:accent2>
      <a:accent3>
        <a:srgbClr val="FB6208"/>
      </a:accent3>
      <a:accent4>
        <a:srgbClr val="166519"/>
      </a:accent4>
      <a:accent5>
        <a:srgbClr val="790D79"/>
      </a:accent5>
      <a:accent6>
        <a:srgbClr val="666666"/>
      </a:accent6>
      <a:hlink>
        <a:srgbClr val="215626"/>
      </a:hlink>
      <a:folHlink>
        <a:srgbClr val="FF0000"/>
      </a:folHlink>
    </a:clrScheme>
    <a:fontScheme name="heineken D&amp;T">
      <a:majorFont>
        <a:latin typeface="HEINEKEN Core"/>
        <a:ea typeface="Helvetica Light"/>
        <a:cs typeface="Helvetica Light"/>
      </a:majorFont>
      <a:minorFont>
        <a:latin typeface="HEINEKEN Core"/>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SEN00006 - 2022_Digital&amp;Tech_Template - hybrid v4.potx" id="{A120C424-8B38-4635-BB7A-B589E974EB7E}" vid="{D3FB8AB0-02E4-4640-B4BE-B7C80888A631}"/>
    </a:ext>
  </a:extLst>
</a:theme>
</file>

<file path=ppt/theme/theme2.xml><?xml version="1.0" encoding="utf-8"?>
<a:theme xmlns:a="http://schemas.openxmlformats.org/drawingml/2006/main" name="26_White">
  <a:themeElements>
    <a:clrScheme name="heineken">
      <a:dk1>
        <a:srgbClr val="017E01"/>
      </a:dk1>
      <a:lt1>
        <a:srgbClr val="2EC246"/>
      </a:lt1>
      <a:dk2>
        <a:srgbClr val="FFFFFF"/>
      </a:dk2>
      <a:lt2>
        <a:srgbClr val="2BC345"/>
      </a:lt2>
      <a:accent1>
        <a:srgbClr val="FEFFFE"/>
      </a:accent1>
      <a:accent2>
        <a:srgbClr val="FF0000"/>
      </a:accent2>
      <a:accent3>
        <a:srgbClr val="FFFFFF"/>
      </a:accent3>
      <a:accent4>
        <a:srgbClr val="017E01"/>
      </a:accent4>
      <a:accent5>
        <a:srgbClr val="2CC246"/>
      </a:accent5>
      <a:accent6>
        <a:srgbClr val="017E01"/>
      </a:accent6>
      <a:hlink>
        <a:srgbClr val="215626"/>
      </a:hlink>
      <a:folHlink>
        <a:srgbClr val="FF0000"/>
      </a:folHlink>
    </a:clrScheme>
    <a:fontScheme name="Custom 1">
      <a:majorFont>
        <a:latin typeface="HEINEKEN Core"/>
        <a:ea typeface=""/>
        <a:cs typeface=""/>
      </a:majorFont>
      <a:minorFont>
        <a:latin typeface="HEINEKEN Core"/>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65A38"/>
        </a:accent1>
        <a:accent2>
          <a:srgbClr val="7AB800"/>
        </a:accent2>
        <a:accent3>
          <a:srgbClr val="FF7900"/>
        </a:accent3>
        <a:accent4>
          <a:srgbClr val="C4C4C4"/>
        </a:accent4>
        <a:accent5>
          <a:srgbClr val="ED1C24"/>
        </a:accent5>
        <a:accent6>
          <a:srgbClr val="7F7F7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EN00006 - 2022_Digital&amp;Tech_Template - hybrid v4.potx" id="{A120C424-8B38-4635-BB7A-B589E974EB7E}" vid="{A0C8F871-539A-4681-A717-DDC2A5DE3D78}"/>
    </a:ext>
  </a:extLst>
</a:theme>
</file>

<file path=ppt/theme/theme3.xml><?xml version="1.0" encoding="utf-8"?>
<a:theme xmlns:a="http://schemas.openxmlformats.org/drawingml/2006/main" name="evergreen">
  <a:themeElements>
    <a:clrScheme name="evergreen">
      <a:dk1>
        <a:srgbClr val="215626"/>
      </a:dk1>
      <a:lt1>
        <a:srgbClr val="FFFFFF"/>
      </a:lt1>
      <a:dk2>
        <a:srgbClr val="017E01"/>
      </a:dk2>
      <a:lt2>
        <a:srgbClr val="2BC345"/>
      </a:lt2>
      <a:accent1>
        <a:srgbClr val="215626"/>
      </a:accent1>
      <a:accent2>
        <a:srgbClr val="017E01"/>
      </a:accent2>
      <a:accent3>
        <a:srgbClr val="2EC246"/>
      </a:accent3>
      <a:accent4>
        <a:srgbClr val="2BC345"/>
      </a:accent4>
      <a:accent5>
        <a:srgbClr val="FFFFFF"/>
      </a:accent5>
      <a:accent6>
        <a:srgbClr val="FFFFFF"/>
      </a:accent6>
      <a:hlink>
        <a:srgbClr val="017E01"/>
      </a:hlink>
      <a:folHlink>
        <a:srgbClr val="215626"/>
      </a:folHlink>
    </a:clrScheme>
    <a:fontScheme name="Heineken - legacy green">
      <a:majorFont>
        <a:latin typeface="HEINEKEN Core"/>
        <a:ea typeface=""/>
        <a:cs typeface=""/>
      </a:majorFont>
      <a:minorFont>
        <a:latin typeface="HEINEKEN Cor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EN00006 - 2022_Digital&amp;Tech_Template - hybrid v4.potx" id="{A120C424-8B38-4635-BB7A-B589E974EB7E}" vid="{E7846B97-CACE-4FAD-95DA-F58D04045AD1}"/>
    </a:ext>
  </a:extLst>
</a:theme>
</file>

<file path=ppt/theme/theme4.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d207de2-70cf-42ff-b1b2-074d444ebe38" xsi:nil="true"/>
    <lcf76f155ced4ddcb4097134ff3c332f xmlns="e0b340ce-c2f8-4890-872c-6cdecf642390">
      <Terms xmlns="http://schemas.microsoft.com/office/infopath/2007/PartnerControls"/>
    </lcf76f155ced4ddcb4097134ff3c332f>
    <SharedWithUsers xmlns="4d207de2-70cf-42ff-b1b2-074d444ebe38">
      <UserInfo>
        <DisplayName/>
        <AccountId xsi:nil="true"/>
        <AccountType/>
      </UserInfo>
    </SharedWithUsers>
    <Purpose xmlns="e0b340ce-c2f8-4890-872c-6cdecf64239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BA36EF32BAE9E4EB55189E28E74E3BF" ma:contentTypeVersion="18" ma:contentTypeDescription="Create a new document." ma:contentTypeScope="" ma:versionID="99f5f75fd7951174eea0daf80e175dd6">
  <xsd:schema xmlns:xsd="http://www.w3.org/2001/XMLSchema" xmlns:xs="http://www.w3.org/2001/XMLSchema" xmlns:p="http://schemas.microsoft.com/office/2006/metadata/properties" xmlns:ns2="e0b340ce-c2f8-4890-872c-6cdecf642390" xmlns:ns3="4d207de2-70cf-42ff-b1b2-074d444ebe38" targetNamespace="http://schemas.microsoft.com/office/2006/metadata/properties" ma:root="true" ma:fieldsID="a396ef24b68a4e75b7420d6357788f70" ns2:_="" ns3:_="">
    <xsd:import namespace="e0b340ce-c2f8-4890-872c-6cdecf642390"/>
    <xsd:import namespace="4d207de2-70cf-42ff-b1b2-074d444ebe38"/>
    <xsd:element name="properties">
      <xsd:complexType>
        <xsd:sequence>
          <xsd:element name="documentManagement">
            <xsd:complexType>
              <xsd:all>
                <xsd:element ref="ns2:Purpose" minOccurs="0"/>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TaxCatchAll" minOccurs="0"/>
                <xsd:element ref="ns2:MediaServiceDateTaken" minOccurs="0"/>
                <xsd:element ref="ns2:lcf76f155ced4ddcb4097134ff3c332f"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b340ce-c2f8-4890-872c-6cdecf642390" elementFormDefault="qualified">
    <xsd:import namespace="http://schemas.microsoft.com/office/2006/documentManagement/types"/>
    <xsd:import namespace="http://schemas.microsoft.com/office/infopath/2007/PartnerControls"/>
    <xsd:element name="Purpose" ma:index="8" nillable="true" ma:displayName="Purpose" ma:format="Dropdown" ma:internalName="Purpose">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aa43d79-0337-43fd-9094-582e52f0796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d207de2-70cf-42ff-b1b2-074d444ebe3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d813be6-447c-4361-865b-d0a8522dcfa8}" ma:internalName="TaxCatchAll" ma:showField="CatchAllData" ma:web="4d207de2-70cf-42ff-b1b2-074d444ebe38">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31E0B6-A631-44BA-A676-23BEC54BC1A8}">
  <ds:schemaRefs>
    <ds:schemaRef ds:uri="http://schemas.microsoft.com/office/2006/documentManagement/types"/>
    <ds:schemaRef ds:uri="http://purl.org/dc/elements/1.1/"/>
    <ds:schemaRef ds:uri="http://schemas.microsoft.com/office/infopath/2007/PartnerControls"/>
    <ds:schemaRef ds:uri="e0b340ce-c2f8-4890-872c-6cdecf642390"/>
    <ds:schemaRef ds:uri="http://purl.org/dc/terms/"/>
    <ds:schemaRef ds:uri="http://purl.org/dc/dcmitype/"/>
    <ds:schemaRef ds:uri="http://schemas.openxmlformats.org/package/2006/metadata/core-properties"/>
    <ds:schemaRef ds:uri="4d207de2-70cf-42ff-b1b2-074d444ebe38"/>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3BFFD3C7-51C8-4500-B6E6-E29FE7E098D7}">
  <ds:schemaRefs>
    <ds:schemaRef ds:uri="4d207de2-70cf-42ff-b1b2-074d444ebe38"/>
    <ds:schemaRef ds:uri="e0b340ce-c2f8-4890-872c-6cdecf6423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96AFC6D-0EC1-49AF-8931-9667B54269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eineken - new</Template>
  <TotalTime>11175</TotalTime>
  <Words>1051</Words>
  <Application>Microsoft Office PowerPoint</Application>
  <PresentationFormat>Widescreen</PresentationFormat>
  <Paragraphs>253</Paragraphs>
  <Slides>24</Slides>
  <Notes>6</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8" baseType="lpstr">
      <vt:lpstr>Arial</vt:lpstr>
      <vt:lpstr>Calibri</vt:lpstr>
      <vt:lpstr>HEINEKEN Core</vt:lpstr>
      <vt:lpstr>HEINEKEN Core ExtraBold</vt:lpstr>
      <vt:lpstr>Helvetica Light</vt:lpstr>
      <vt:lpstr>Helvetica Neue</vt:lpstr>
      <vt:lpstr>Segoe UI</vt:lpstr>
      <vt:lpstr>Symbol</vt:lpstr>
      <vt:lpstr>Times New Roman</vt:lpstr>
      <vt:lpstr>Wingdings</vt:lpstr>
      <vt:lpstr>DT Template *NEW*</vt:lpstr>
      <vt:lpstr>26_White</vt:lpstr>
      <vt:lpstr>evergreen</vt:lpstr>
      <vt:lpstr>think-cell Slide</vt:lpstr>
      <vt:lpstr>TPO &amp; Customer Targeting Recommendation</vt:lpstr>
      <vt:lpstr>PowerPoint Presentation</vt:lpstr>
      <vt:lpstr>PROJECT INTRODUCTION</vt:lpstr>
      <vt:lpstr>PowerPoint Presentation</vt:lpstr>
      <vt:lpstr>PowerPoint Presentation</vt:lpstr>
      <vt:lpstr>PowerPoint Presentation</vt:lpstr>
      <vt:lpstr>Long Process &amp; Alignment to Proceed the Trade Marketing Plan</vt:lpstr>
      <vt:lpstr>PowerPoint Presentation</vt:lpstr>
      <vt:lpstr>HYPOTHESIS AND RESEARCH QUESTIONS</vt:lpstr>
      <vt:lpstr>PowerPoint Presentation</vt:lpstr>
      <vt:lpstr>METHODOLOGY</vt:lpstr>
      <vt:lpstr>METHODOLOGY</vt:lpstr>
      <vt:lpstr>METHODOLOGY </vt:lpstr>
      <vt:lpstr>PROJECT ROADMAP  &amp; PLANNING</vt:lpstr>
      <vt:lpstr>PowerPoint Presentation</vt:lpstr>
      <vt:lpstr>DATA COLLECTION</vt:lpstr>
      <vt:lpstr>PowerPoint Presentation</vt:lpstr>
      <vt:lpstr>PowerPoint Presentation</vt:lpstr>
      <vt:lpstr>PowerPoint Presentation</vt:lpstr>
      <vt:lpstr>PowerPoint Presentation</vt:lpstr>
      <vt:lpstr>PowerPoint Presentation</vt:lpstr>
      <vt:lpstr>TECHNOLOGY</vt:lpstr>
      <vt:lpstr>TECHNOLOGY</vt:lpstr>
      <vt:lpstr>This is the  title for  the cove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the title for  the COVER</dc:title>
  <dc:subject/>
  <dc:creator>Liza Jongbloed</dc:creator>
  <cp:keywords/>
  <dc:description/>
  <cp:lastModifiedBy>Votana Srey</cp:lastModifiedBy>
  <cp:revision>5</cp:revision>
  <dcterms:created xsi:type="dcterms:W3CDTF">2022-09-17T09:33:33Z</dcterms:created>
  <dcterms:modified xsi:type="dcterms:W3CDTF">2023-02-20T03:16: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623D1034002A4DA400E4CC4F98E9BD</vt:lpwstr>
  </property>
  <property fmtid="{D5CDD505-2E9C-101B-9397-08002B2CF9AE}" pid="3" name="Order">
    <vt:lpwstr>30500.0000000000</vt:lpwstr>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